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3" r:id="rId5"/>
  </p:sldMasterIdLst>
  <p:notesMasterIdLst>
    <p:notesMasterId r:id="rId12"/>
  </p:notesMasterIdLst>
  <p:handoutMasterIdLst>
    <p:handoutMasterId r:id="rId13"/>
  </p:handoutMasterIdLst>
  <p:sldIdLst>
    <p:sldId id="257" r:id="rId6"/>
    <p:sldId id="259" r:id="rId7"/>
    <p:sldId id="260" r:id="rId8"/>
    <p:sldId id="261" r:id="rId9"/>
    <p:sldId id="263" r:id="rId10"/>
    <p:sldId id="262" r:id="rId11"/>
  </p:sldIdLst>
  <p:sldSz cx="12192000" cy="6858000"/>
  <p:notesSz cx="6858000" cy="9144000"/>
  <p:custDataLst>
    <p:tags r:id="rId14"/>
  </p:custDataLst>
  <p:defaultTextStyle>
    <a:defPPr>
      <a:defRPr lang="en-US"/>
    </a:defPPr>
    <a:lvl1pPr marL="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228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457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685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9144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1430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1371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1600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1828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A0000"/>
    <a:srgbClr val="020000"/>
    <a:srgbClr val="010000"/>
    <a:srgbClr val="CEFFDF"/>
    <a:srgbClr val="FFFFFF"/>
    <a:srgbClr val="0000FF"/>
    <a:srgbClr val="0000FE"/>
    <a:srgbClr val="524B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BC334A2-23D3-408E-8C36-C6BDF685D3B7}" v="37" dt="2022-04-26T06:12:26.09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002" autoAdjust="0"/>
    <p:restoredTop sz="94660"/>
  </p:normalViewPr>
  <p:slideViewPr>
    <p:cSldViewPr snapToGrid="0">
      <p:cViewPr varScale="1">
        <p:scale>
          <a:sx n="96" d="100"/>
          <a:sy n="96" d="100"/>
        </p:scale>
        <p:origin x="184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3" d="100"/>
          <a:sy n="83" d="100"/>
        </p:scale>
        <p:origin x="3180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microsoft.com/office/2015/10/relationships/revisionInfo" Target="revisionInfo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tags" Target="tags/tag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E747B1B-1420-4E39-B593-014BE2575BFD}" type="doc">
      <dgm:prSet loTypeId="urn:microsoft.com/office/officeart/2005/8/layout/target1" loCatId="relationship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744F8634-AD23-4FC7-AD93-83A7475324FF}">
      <dgm:prSet custT="1"/>
      <dgm:spPr/>
      <dgm:t>
        <a:bodyPr/>
        <a:lstStyle/>
        <a:p>
          <a:r>
            <a:rPr lang="nb-NO" sz="1100" dirty="0"/>
            <a:t>8 - bosatt i Oslo</a:t>
          </a:r>
          <a:endParaRPr lang="en-GB" sz="1100" dirty="0"/>
        </a:p>
      </dgm:t>
    </dgm:pt>
    <dgm:pt modelId="{F576B0BF-41EE-4A2A-A10C-9BCF463AB87F}" type="parTrans" cxnId="{CB437E76-0A39-44FD-A920-C1D841A520F7}">
      <dgm:prSet/>
      <dgm:spPr/>
      <dgm:t>
        <a:bodyPr/>
        <a:lstStyle/>
        <a:p>
          <a:endParaRPr lang="en-GB" sz="2800"/>
        </a:p>
      </dgm:t>
    </dgm:pt>
    <dgm:pt modelId="{88B26059-B9F2-4696-8FF1-0A8947FD267B}" type="sibTrans" cxnId="{CB437E76-0A39-44FD-A920-C1D841A520F7}">
      <dgm:prSet/>
      <dgm:spPr/>
      <dgm:t>
        <a:bodyPr/>
        <a:lstStyle/>
        <a:p>
          <a:endParaRPr lang="en-GB" sz="2800"/>
        </a:p>
      </dgm:t>
    </dgm:pt>
    <dgm:pt modelId="{3076A3B6-08A4-4E43-8010-4C9F0FBF82BA}">
      <dgm:prSet custT="1"/>
      <dgm:spPr/>
      <dgm:t>
        <a:bodyPr/>
        <a:lstStyle/>
        <a:p>
          <a:r>
            <a:rPr lang="nb-NO" sz="1100" dirty="0"/>
            <a:t>30.000 – total kapasitet i 2022.</a:t>
          </a:r>
          <a:endParaRPr lang="en-GB" sz="1100" dirty="0"/>
        </a:p>
      </dgm:t>
    </dgm:pt>
    <dgm:pt modelId="{403EF53B-8273-47B6-9DEC-841075CBD8F6}" type="parTrans" cxnId="{DF816E71-B4FD-41FC-B61F-69A3F292AB5D}">
      <dgm:prSet/>
      <dgm:spPr/>
      <dgm:t>
        <a:bodyPr/>
        <a:lstStyle/>
        <a:p>
          <a:endParaRPr lang="en-GB" sz="2800"/>
        </a:p>
      </dgm:t>
    </dgm:pt>
    <dgm:pt modelId="{2924D602-A300-47A6-98DE-175F1CA418C2}" type="sibTrans" cxnId="{DF816E71-B4FD-41FC-B61F-69A3F292AB5D}">
      <dgm:prSet/>
      <dgm:spPr/>
      <dgm:t>
        <a:bodyPr/>
        <a:lstStyle/>
        <a:p>
          <a:endParaRPr lang="en-GB" sz="2800"/>
        </a:p>
      </dgm:t>
    </dgm:pt>
    <dgm:pt modelId="{7B0445F8-8119-4D97-8930-3A1506C88526}">
      <dgm:prSet custT="1"/>
      <dgm:spPr/>
      <dgm:t>
        <a:bodyPr/>
        <a:lstStyle/>
        <a:p>
          <a:r>
            <a:rPr lang="nb-NO" sz="1100" dirty="0"/>
            <a:t>330 – totalt bosatt i Norge</a:t>
          </a:r>
          <a:endParaRPr lang="en-GB" sz="1100" dirty="0"/>
        </a:p>
      </dgm:t>
    </dgm:pt>
    <dgm:pt modelId="{AAAC7A61-7FF6-4EC4-95D4-5BA5B601E646}" type="parTrans" cxnId="{23129CEC-A761-426D-9A4E-1168D11D356F}">
      <dgm:prSet/>
      <dgm:spPr/>
      <dgm:t>
        <a:bodyPr/>
        <a:lstStyle/>
        <a:p>
          <a:endParaRPr lang="en-GB" sz="2800"/>
        </a:p>
      </dgm:t>
    </dgm:pt>
    <dgm:pt modelId="{A53E10D3-DBDE-4803-A747-0438AAD2AFE1}" type="sibTrans" cxnId="{23129CEC-A761-426D-9A4E-1168D11D356F}">
      <dgm:prSet/>
      <dgm:spPr/>
      <dgm:t>
        <a:bodyPr/>
        <a:lstStyle/>
        <a:p>
          <a:endParaRPr lang="en-GB" sz="2800"/>
        </a:p>
      </dgm:t>
    </dgm:pt>
    <dgm:pt modelId="{6139D61E-84C8-49FD-AD8F-5D295629F9F6}" type="pres">
      <dgm:prSet presAssocID="{DE747B1B-1420-4E39-B593-014BE2575BFD}" presName="composite" presStyleCnt="0">
        <dgm:presLayoutVars>
          <dgm:chMax val="5"/>
          <dgm:dir/>
          <dgm:resizeHandles val="exact"/>
        </dgm:presLayoutVars>
      </dgm:prSet>
      <dgm:spPr/>
    </dgm:pt>
    <dgm:pt modelId="{8AB253C3-D9D0-42E9-BB94-D09C6F0FE9A6}" type="pres">
      <dgm:prSet presAssocID="{744F8634-AD23-4FC7-AD93-83A7475324FF}" presName="circle1" presStyleLbl="lnNode1" presStyleIdx="0" presStyleCnt="3"/>
      <dgm:spPr/>
    </dgm:pt>
    <dgm:pt modelId="{226263F9-7B72-4F04-A1F3-59C930A86045}" type="pres">
      <dgm:prSet presAssocID="{744F8634-AD23-4FC7-AD93-83A7475324FF}" presName="text1" presStyleLbl="revTx" presStyleIdx="0" presStyleCnt="3">
        <dgm:presLayoutVars>
          <dgm:bulletEnabled val="1"/>
        </dgm:presLayoutVars>
      </dgm:prSet>
      <dgm:spPr/>
    </dgm:pt>
    <dgm:pt modelId="{C1EE5993-35F3-4E7A-BF2F-3E481CADCBE7}" type="pres">
      <dgm:prSet presAssocID="{744F8634-AD23-4FC7-AD93-83A7475324FF}" presName="line1" presStyleLbl="callout" presStyleIdx="0" presStyleCnt="6"/>
      <dgm:spPr/>
    </dgm:pt>
    <dgm:pt modelId="{4B9FCD2D-EF35-436C-97C8-6FBAB6129803}" type="pres">
      <dgm:prSet presAssocID="{744F8634-AD23-4FC7-AD93-83A7475324FF}" presName="d1" presStyleLbl="callout" presStyleIdx="1" presStyleCnt="6"/>
      <dgm:spPr/>
    </dgm:pt>
    <dgm:pt modelId="{A2CA740E-340A-4B5B-AC8D-41D2DC5F6302}" type="pres">
      <dgm:prSet presAssocID="{7B0445F8-8119-4D97-8930-3A1506C88526}" presName="circle2" presStyleLbl="lnNode1" presStyleIdx="1" presStyleCnt="3" custLinFactNeighborX="-1019"/>
      <dgm:spPr/>
    </dgm:pt>
    <dgm:pt modelId="{256783DA-D613-47B8-8E3A-F2C7722D5D54}" type="pres">
      <dgm:prSet presAssocID="{7B0445F8-8119-4D97-8930-3A1506C88526}" presName="text2" presStyleLbl="revTx" presStyleIdx="1" presStyleCnt="3">
        <dgm:presLayoutVars>
          <dgm:bulletEnabled val="1"/>
        </dgm:presLayoutVars>
      </dgm:prSet>
      <dgm:spPr/>
    </dgm:pt>
    <dgm:pt modelId="{84EA26F5-68F5-49F6-BEC7-C8C476CF41E3}" type="pres">
      <dgm:prSet presAssocID="{7B0445F8-8119-4D97-8930-3A1506C88526}" presName="line2" presStyleLbl="callout" presStyleIdx="2" presStyleCnt="6"/>
      <dgm:spPr/>
    </dgm:pt>
    <dgm:pt modelId="{16A07B5D-B92E-4E3D-9234-49A31C9D60F2}" type="pres">
      <dgm:prSet presAssocID="{7B0445F8-8119-4D97-8930-3A1506C88526}" presName="d2" presStyleLbl="callout" presStyleIdx="3" presStyleCnt="6"/>
      <dgm:spPr/>
    </dgm:pt>
    <dgm:pt modelId="{B5393F07-603E-4E5D-8ACC-3E33E212BF4F}" type="pres">
      <dgm:prSet presAssocID="{3076A3B6-08A4-4E43-8010-4C9F0FBF82BA}" presName="circle3" presStyleLbl="lnNode1" presStyleIdx="2" presStyleCnt="3"/>
      <dgm:spPr/>
    </dgm:pt>
    <dgm:pt modelId="{76B23911-4E45-4581-BA4A-F16BB1EC0828}" type="pres">
      <dgm:prSet presAssocID="{3076A3B6-08A4-4E43-8010-4C9F0FBF82BA}" presName="text3" presStyleLbl="revTx" presStyleIdx="2" presStyleCnt="3">
        <dgm:presLayoutVars>
          <dgm:bulletEnabled val="1"/>
        </dgm:presLayoutVars>
      </dgm:prSet>
      <dgm:spPr/>
    </dgm:pt>
    <dgm:pt modelId="{47F28E63-8C23-41CC-829F-7FCCEE1A6BDD}" type="pres">
      <dgm:prSet presAssocID="{3076A3B6-08A4-4E43-8010-4C9F0FBF82BA}" presName="line3" presStyleLbl="callout" presStyleIdx="4" presStyleCnt="6"/>
      <dgm:spPr/>
    </dgm:pt>
    <dgm:pt modelId="{012D1D82-EC24-4F4B-B957-5978E2029F88}" type="pres">
      <dgm:prSet presAssocID="{3076A3B6-08A4-4E43-8010-4C9F0FBF82BA}" presName="d3" presStyleLbl="callout" presStyleIdx="5" presStyleCnt="6"/>
      <dgm:spPr/>
    </dgm:pt>
  </dgm:ptLst>
  <dgm:cxnLst>
    <dgm:cxn modelId="{DF816E71-B4FD-41FC-B61F-69A3F292AB5D}" srcId="{DE747B1B-1420-4E39-B593-014BE2575BFD}" destId="{3076A3B6-08A4-4E43-8010-4C9F0FBF82BA}" srcOrd="2" destOrd="0" parTransId="{403EF53B-8273-47B6-9DEC-841075CBD8F6}" sibTransId="{2924D602-A300-47A6-98DE-175F1CA418C2}"/>
    <dgm:cxn modelId="{CB437E76-0A39-44FD-A920-C1D841A520F7}" srcId="{DE747B1B-1420-4E39-B593-014BE2575BFD}" destId="{744F8634-AD23-4FC7-AD93-83A7475324FF}" srcOrd="0" destOrd="0" parTransId="{F576B0BF-41EE-4A2A-A10C-9BCF463AB87F}" sibTransId="{88B26059-B9F2-4696-8FF1-0A8947FD267B}"/>
    <dgm:cxn modelId="{3118BF57-8CE8-4C98-B825-C575240DAB4B}" type="presOf" srcId="{DE747B1B-1420-4E39-B593-014BE2575BFD}" destId="{6139D61E-84C8-49FD-AD8F-5D295629F9F6}" srcOrd="0" destOrd="0" presId="urn:microsoft.com/office/officeart/2005/8/layout/target1"/>
    <dgm:cxn modelId="{767B7A79-AE46-4ED3-8B4F-D172066EB5BF}" type="presOf" srcId="{7B0445F8-8119-4D97-8930-3A1506C88526}" destId="{256783DA-D613-47B8-8E3A-F2C7722D5D54}" srcOrd="0" destOrd="0" presId="urn:microsoft.com/office/officeart/2005/8/layout/target1"/>
    <dgm:cxn modelId="{5A268AD7-48F0-455E-B715-FC9E42FA90B4}" type="presOf" srcId="{744F8634-AD23-4FC7-AD93-83A7475324FF}" destId="{226263F9-7B72-4F04-A1F3-59C930A86045}" srcOrd="0" destOrd="0" presId="urn:microsoft.com/office/officeart/2005/8/layout/target1"/>
    <dgm:cxn modelId="{BD610BE7-F235-4B37-873D-74C15E82E20D}" type="presOf" srcId="{3076A3B6-08A4-4E43-8010-4C9F0FBF82BA}" destId="{76B23911-4E45-4581-BA4A-F16BB1EC0828}" srcOrd="0" destOrd="0" presId="urn:microsoft.com/office/officeart/2005/8/layout/target1"/>
    <dgm:cxn modelId="{23129CEC-A761-426D-9A4E-1168D11D356F}" srcId="{DE747B1B-1420-4E39-B593-014BE2575BFD}" destId="{7B0445F8-8119-4D97-8930-3A1506C88526}" srcOrd="1" destOrd="0" parTransId="{AAAC7A61-7FF6-4EC4-95D4-5BA5B601E646}" sibTransId="{A53E10D3-DBDE-4803-A747-0438AAD2AFE1}"/>
    <dgm:cxn modelId="{19D752BF-55DE-4A66-8D90-3AFB7117DA43}" type="presParOf" srcId="{6139D61E-84C8-49FD-AD8F-5D295629F9F6}" destId="{8AB253C3-D9D0-42E9-BB94-D09C6F0FE9A6}" srcOrd="0" destOrd="0" presId="urn:microsoft.com/office/officeart/2005/8/layout/target1"/>
    <dgm:cxn modelId="{A830FC69-9D58-4145-9669-453C932E81F8}" type="presParOf" srcId="{6139D61E-84C8-49FD-AD8F-5D295629F9F6}" destId="{226263F9-7B72-4F04-A1F3-59C930A86045}" srcOrd="1" destOrd="0" presId="urn:microsoft.com/office/officeart/2005/8/layout/target1"/>
    <dgm:cxn modelId="{0D14460C-6267-4E70-8E2E-A0C83DDC86DC}" type="presParOf" srcId="{6139D61E-84C8-49FD-AD8F-5D295629F9F6}" destId="{C1EE5993-35F3-4E7A-BF2F-3E481CADCBE7}" srcOrd="2" destOrd="0" presId="urn:microsoft.com/office/officeart/2005/8/layout/target1"/>
    <dgm:cxn modelId="{19A74FF4-0D74-490C-8A1E-0CA6300626E7}" type="presParOf" srcId="{6139D61E-84C8-49FD-AD8F-5D295629F9F6}" destId="{4B9FCD2D-EF35-436C-97C8-6FBAB6129803}" srcOrd="3" destOrd="0" presId="urn:microsoft.com/office/officeart/2005/8/layout/target1"/>
    <dgm:cxn modelId="{E36D5934-F9C3-406C-9933-C10B6FC8FB02}" type="presParOf" srcId="{6139D61E-84C8-49FD-AD8F-5D295629F9F6}" destId="{A2CA740E-340A-4B5B-AC8D-41D2DC5F6302}" srcOrd="4" destOrd="0" presId="urn:microsoft.com/office/officeart/2005/8/layout/target1"/>
    <dgm:cxn modelId="{1EC3E1BD-BA75-44E7-B578-A026E77B6A43}" type="presParOf" srcId="{6139D61E-84C8-49FD-AD8F-5D295629F9F6}" destId="{256783DA-D613-47B8-8E3A-F2C7722D5D54}" srcOrd="5" destOrd="0" presId="urn:microsoft.com/office/officeart/2005/8/layout/target1"/>
    <dgm:cxn modelId="{150CD5BD-BD62-4A7B-BC59-39AD8AAED4A8}" type="presParOf" srcId="{6139D61E-84C8-49FD-AD8F-5D295629F9F6}" destId="{84EA26F5-68F5-49F6-BEC7-C8C476CF41E3}" srcOrd="6" destOrd="0" presId="urn:microsoft.com/office/officeart/2005/8/layout/target1"/>
    <dgm:cxn modelId="{035E82DC-2DFB-4600-B99C-AFC1E4885109}" type="presParOf" srcId="{6139D61E-84C8-49FD-AD8F-5D295629F9F6}" destId="{16A07B5D-B92E-4E3D-9234-49A31C9D60F2}" srcOrd="7" destOrd="0" presId="urn:microsoft.com/office/officeart/2005/8/layout/target1"/>
    <dgm:cxn modelId="{32DC9667-CD32-4A1C-A2C8-D542770624B2}" type="presParOf" srcId="{6139D61E-84C8-49FD-AD8F-5D295629F9F6}" destId="{B5393F07-603E-4E5D-8ACC-3E33E212BF4F}" srcOrd="8" destOrd="0" presId="urn:microsoft.com/office/officeart/2005/8/layout/target1"/>
    <dgm:cxn modelId="{EAB72935-B924-4E70-96DF-6B6500557CEF}" type="presParOf" srcId="{6139D61E-84C8-49FD-AD8F-5D295629F9F6}" destId="{76B23911-4E45-4581-BA4A-F16BB1EC0828}" srcOrd="9" destOrd="0" presId="urn:microsoft.com/office/officeart/2005/8/layout/target1"/>
    <dgm:cxn modelId="{DF445996-E877-4671-805A-43EABA681545}" type="presParOf" srcId="{6139D61E-84C8-49FD-AD8F-5D295629F9F6}" destId="{47F28E63-8C23-41CC-829F-7FCCEE1A6BDD}" srcOrd="10" destOrd="0" presId="urn:microsoft.com/office/officeart/2005/8/layout/target1"/>
    <dgm:cxn modelId="{802677ED-2E6B-45DD-937A-A8AE1FFFA38B}" type="presParOf" srcId="{6139D61E-84C8-49FD-AD8F-5D295629F9F6}" destId="{012D1D82-EC24-4F4B-B957-5978E2029F88}" srcOrd="11" destOrd="0" presId="urn:microsoft.com/office/officeart/2005/8/layout/targe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5393F07-603E-4E5D-8ACC-3E33E212BF4F}">
      <dsp:nvSpPr>
        <dsp:cNvPr id="0" name=""/>
        <dsp:cNvSpPr/>
      </dsp:nvSpPr>
      <dsp:spPr>
        <a:xfrm>
          <a:off x="538853" y="658654"/>
          <a:ext cx="1975964" cy="1975964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A2CA740E-340A-4B5B-AC8D-41D2DC5F6302}">
      <dsp:nvSpPr>
        <dsp:cNvPr id="0" name=""/>
        <dsp:cNvSpPr/>
      </dsp:nvSpPr>
      <dsp:spPr>
        <a:xfrm>
          <a:off x="921965" y="1053847"/>
          <a:ext cx="1185578" cy="1185578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8AB253C3-D9D0-42E9-BB94-D09C6F0FE9A6}">
      <dsp:nvSpPr>
        <dsp:cNvPr id="0" name=""/>
        <dsp:cNvSpPr/>
      </dsp:nvSpPr>
      <dsp:spPr>
        <a:xfrm>
          <a:off x="1329239" y="1449040"/>
          <a:ext cx="395192" cy="395192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</dsp:sp>
    <dsp:sp modelId="{226263F9-7B72-4F04-A1F3-59C930A86045}">
      <dsp:nvSpPr>
        <dsp:cNvPr id="0" name=""/>
        <dsp:cNvSpPr/>
      </dsp:nvSpPr>
      <dsp:spPr>
        <a:xfrm>
          <a:off x="2844145" y="0"/>
          <a:ext cx="987982" cy="57632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32" tIns="13970" rIns="13970" bIns="13970" numCol="1" spcCol="1270" anchor="ctr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100" kern="1200" dirty="0"/>
            <a:t>8 - bosatt i Oslo</a:t>
          </a:r>
          <a:endParaRPr lang="en-GB" sz="1100" kern="1200" dirty="0"/>
        </a:p>
      </dsp:txBody>
      <dsp:txXfrm>
        <a:off x="2844145" y="0"/>
        <a:ext cx="987982" cy="576322"/>
      </dsp:txXfrm>
    </dsp:sp>
    <dsp:sp modelId="{C1EE5993-35F3-4E7A-BF2F-3E481CADCBE7}">
      <dsp:nvSpPr>
        <dsp:cNvPr id="0" name=""/>
        <dsp:cNvSpPr/>
      </dsp:nvSpPr>
      <dsp:spPr>
        <a:xfrm>
          <a:off x="2597149" y="288161"/>
          <a:ext cx="246995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4B9FCD2D-EF35-436C-97C8-6FBAB6129803}">
      <dsp:nvSpPr>
        <dsp:cNvPr id="0" name=""/>
        <dsp:cNvSpPr/>
      </dsp:nvSpPr>
      <dsp:spPr>
        <a:xfrm rot="5400000">
          <a:off x="1382425" y="432900"/>
          <a:ext cx="1358146" cy="1069325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256783DA-D613-47B8-8E3A-F2C7722D5D54}">
      <dsp:nvSpPr>
        <dsp:cNvPr id="0" name=""/>
        <dsp:cNvSpPr/>
      </dsp:nvSpPr>
      <dsp:spPr>
        <a:xfrm>
          <a:off x="2844145" y="576322"/>
          <a:ext cx="987982" cy="57632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32" tIns="13970" rIns="13970" bIns="13970" numCol="1" spcCol="1270" anchor="ctr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100" kern="1200" dirty="0"/>
            <a:t>330 – totalt bosatt i Norge</a:t>
          </a:r>
          <a:endParaRPr lang="en-GB" sz="1100" kern="1200" dirty="0"/>
        </a:p>
      </dsp:txBody>
      <dsp:txXfrm>
        <a:off x="2844145" y="576322"/>
        <a:ext cx="987982" cy="576322"/>
      </dsp:txXfrm>
    </dsp:sp>
    <dsp:sp modelId="{84EA26F5-68F5-49F6-BEC7-C8C476CF41E3}">
      <dsp:nvSpPr>
        <dsp:cNvPr id="0" name=""/>
        <dsp:cNvSpPr/>
      </dsp:nvSpPr>
      <dsp:spPr>
        <a:xfrm>
          <a:off x="2597149" y="864484"/>
          <a:ext cx="246995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16A07B5D-B92E-4E3D-9234-49A31C9D60F2}">
      <dsp:nvSpPr>
        <dsp:cNvPr id="0" name=""/>
        <dsp:cNvSpPr/>
      </dsp:nvSpPr>
      <dsp:spPr>
        <a:xfrm rot="5400000">
          <a:off x="1673946" y="1000233"/>
          <a:ext cx="1058326" cy="786104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76B23911-4E45-4581-BA4A-F16BB1EC0828}">
      <dsp:nvSpPr>
        <dsp:cNvPr id="0" name=""/>
        <dsp:cNvSpPr/>
      </dsp:nvSpPr>
      <dsp:spPr>
        <a:xfrm>
          <a:off x="2844145" y="1152645"/>
          <a:ext cx="987982" cy="57632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32" tIns="13970" rIns="13970" bIns="13970" numCol="1" spcCol="1270" anchor="ctr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100" kern="1200" dirty="0"/>
            <a:t>30.000 – total kapasitet i 2022.</a:t>
          </a:r>
          <a:endParaRPr lang="en-GB" sz="1100" kern="1200" dirty="0"/>
        </a:p>
      </dsp:txBody>
      <dsp:txXfrm>
        <a:off x="2844145" y="1152645"/>
        <a:ext cx="987982" cy="576322"/>
      </dsp:txXfrm>
    </dsp:sp>
    <dsp:sp modelId="{47F28E63-8C23-41CC-829F-7FCCEE1A6BDD}">
      <dsp:nvSpPr>
        <dsp:cNvPr id="0" name=""/>
        <dsp:cNvSpPr/>
      </dsp:nvSpPr>
      <dsp:spPr>
        <a:xfrm>
          <a:off x="2597149" y="1440807"/>
          <a:ext cx="246995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012D1D82-EC24-4F4B-B957-5978E2029F88}">
      <dsp:nvSpPr>
        <dsp:cNvPr id="0" name=""/>
        <dsp:cNvSpPr/>
      </dsp:nvSpPr>
      <dsp:spPr>
        <a:xfrm rot="5400000">
          <a:off x="1965829" y="1567104"/>
          <a:ext cx="756135" cy="502882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target1">
  <dgm:title val=""/>
  <dgm:desc val=""/>
  <dgm:catLst>
    <dgm:cat type="relationship" pri="25000"/>
    <dgm:cat type="convert" pri="2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ite">
    <dgm:varLst>
      <dgm:chMax val="5"/>
      <dgm:dir/>
      <dgm:resizeHandles val="exact"/>
    </dgm:varLst>
    <dgm:alg type="composite">
      <dgm:param type="ar" val="1.25"/>
    </dgm:alg>
    <dgm:shape xmlns:r="http://schemas.openxmlformats.org/officeDocument/2006/relationships" r:blip="">
      <dgm:adjLst/>
    </dgm:shape>
    <dgm:presOf/>
    <dgm:choose name="Name0">
      <dgm:if name="Name1" func="var" arg="dir" op="equ" val="norm">
        <dgm:choose name="Name2">
          <dgm:if name="Name3" axis="ch" ptType="node" func="cnt" op="equ" val="0">
            <dgm:constrLst/>
          </dgm:if>
          <dgm:if name="Name4" axis="ch" ptType="node" func="cnt" op="equ" val="1">
            <dgm:constrLst>
              <dgm:constr type="primFontSz" for="des" ptType="node" op="equ" val="65"/>
              <dgm:constr type="w" for="ch" forName="circle1" refType="w" fact="0.6"/>
              <dgm:constr type="h" for="ch" forName="circle1" refType="w" refFor="ch" refForName="circle1"/>
              <dgm:constr type="ctrX" for="ch" forName="circle1" refType="w" fact="0.3"/>
              <dgm:constr type="ctrY" for="ch" forName="circle1" refType="h" fact="0.625"/>
              <dgm:constr type="w" for="ch" forName="text1" refType="w" fact="0.3"/>
              <dgm:constr type="h" for="ch" forName="text1" refType="h" fact="0.3125"/>
              <dgm:constr type="r" for="ch" forName="text1" refType="w"/>
              <dgm:constr type="t" for="ch" forName="text1"/>
              <dgm:constr type="l" for="ch" forName="line1" refType="w" fact="0.625"/>
              <dgm:constr type="ctrY" for="ch" forName="line1" refType="ctrY" refFor="ch" refForName="text1"/>
              <dgm:constr type="r" for="ch" forName="line1" refType="l" refFor="ch" refForName="text1"/>
              <dgm:constr type="h" for="ch" forName="line1"/>
              <dgm:constr type="l" for="ch" forName="d1" refType="w" fact="0.3"/>
              <dgm:constr type="b" for="ch" forName="d1" refType="h" fact="0.625"/>
              <dgm:constr type="w" for="ch" forName="d1" refType="w" fact="0.32475"/>
              <dgm:constr type="h" for="ch" forName="d1" refType="h" fact="0.469"/>
            </dgm:constrLst>
          </dgm:if>
          <dgm:if name="Name5" axis="ch" ptType="node" func="cnt" op="equ" val="2">
            <dgm:constrLst>
              <dgm:constr type="primFontSz" for="des" ptType="node" op="equ" val="65"/>
              <dgm:constr type="w" for="ch" forName="circle1" refType="w" fact="0.2"/>
              <dgm:constr type="h" for="ch" forName="circle1" refType="w" refFor="ch" refForName="circle1"/>
              <dgm:constr type="ctrX" for="ch" forName="circle1" refType="w" fact="0.3"/>
              <dgm:constr type="ctrY" for="ch" forName="circle1" refType="h" fact="0.625"/>
              <dgm:constr type="w" for="ch" forName="text1" refType="w" fact="0.3"/>
              <dgm:constr type="h" for="ch" forName="text1" refType="h" fact="0.3125"/>
              <dgm:constr type="r" for="ch" forName="text1" refType="w"/>
              <dgm:constr type="t" for="ch" forName="text1"/>
              <dgm:constr type="l" for="ch" forName="line1" refType="w" fact="0.625"/>
              <dgm:constr type="ctrY" for="ch" forName="line1" refType="ctrY" refFor="ch" refForName="text1"/>
              <dgm:constr type="w" for="ch" forName="line1" refType="w" fact="0.075"/>
              <dgm:constr type="h" for="ch" forName="line1"/>
              <dgm:constr type="l" for="ch" forName="d1" refType="w" fact="0.3"/>
              <dgm:constr type="b" for="ch" forName="d1" refType="h" fact="0.625"/>
              <dgm:constr type="w" for="ch" forName="d1" refType="w" fact="0.32475"/>
              <dgm:constr type="h" for="ch" forName="d1" refType="h" fact="0.469"/>
              <dgm:constr type="w" for="ch" forName="circle2" refType="w" fact="0.6"/>
              <dgm:constr type="h" for="ch" forName="circle2" refType="w" refFor="ch" refForName="circle2"/>
              <dgm:constr type="ctrX" for="ch" forName="circle2" refType="w" fact="0.3"/>
              <dgm:constr type="ctrY" for="ch" forName="circle2" refType="h" fact="0.625"/>
              <dgm:constr type="w" for="ch" forName="text2" refType="w" fact="0.3"/>
              <dgm:constr type="h" for="ch" forName="text2" refType="h" fact="0.3125"/>
              <dgm:constr type="r" for="ch" forName="text2" refType="w"/>
              <dgm:constr type="t" for="ch" forName="text2" refType="b" refFor="ch" refForName="text1"/>
              <dgm:constr type="l" for="ch" forName="line2" refType="w" fact="0.625"/>
              <dgm:constr type="ctrY" for="ch" forName="line2" refType="ctrY" refFor="ch" refForName="text2"/>
              <dgm:constr type="w" for="ch" forName="line2" refType="w" fact="0.075"/>
              <dgm:constr type="h" for="ch" forName="line2"/>
              <dgm:constr type="l" for="ch" forName="d2" refType="w" fact="0.44325"/>
              <dgm:constr type="b" for="ch" forName="d2" refType="h" fact="0.7975"/>
              <dgm:constr type="w" for="ch" forName="d2" refType="w" fact="0.1815"/>
              <dgm:constr type="h" for="ch" forName="d2" refType="h" fact="0.3283"/>
            </dgm:constrLst>
          </dgm:if>
          <dgm:if name="Name6" axis="ch" ptType="node" func="cnt" op="equ" val="3">
            <dgm:constrLst>
              <dgm:constr type="primFontSz" for="des" ptType="node" op="equ" val="65"/>
              <dgm:constr type="w" for="ch" forName="circle1" refType="w" fact="0.12"/>
              <dgm:constr type="h" for="ch" forName="circle1" refType="w" refFor="ch" refForName="circle1"/>
              <dgm:constr type="ctrX" for="ch" forName="circle1" refType="w" fact="0.3"/>
              <dgm:constr type="ctrY" for="ch" forName="circle1" refType="h" fact="0.625"/>
              <dgm:constr type="w" for="ch" forName="text1" refType="w" fact="0.3"/>
              <dgm:constr type="h" for="ch" forName="text1" refType="h" fact="0.21875"/>
              <dgm:constr type="r" for="ch" forName="text1" refType="w"/>
              <dgm:constr type="t" for="ch" forName="text1"/>
              <dgm:constr type="l" for="ch" forName="line1" refType="w" fact="0.625"/>
              <dgm:constr type="ctrY" for="ch" forName="line1" refType="ctrY" refFor="ch" refForName="text1"/>
              <dgm:constr type="w" for="ch" forName="line1" refType="w" fact="0.075"/>
              <dgm:constr type="h" for="ch" forName="line1"/>
              <dgm:constr type="l" for="ch" forName="d1" refType="w" fact="0.3"/>
              <dgm:constr type="b" for="ch" forName="d1" refType="h" fact="0.625"/>
              <dgm:constr type="w" for="ch" forName="d1" refType="w" fact="0.3247"/>
              <dgm:constr type="h" for="ch" forName="d1" refType="h" fact="0.5155"/>
              <dgm:constr type="w" for="ch" forName="circle2" refType="w" fact="0.36"/>
              <dgm:constr type="h" for="ch" forName="circle2" refType="w" refFor="ch" refForName="circle2"/>
              <dgm:constr type="ctrX" for="ch" forName="circle2" refType="w" fact="0.3"/>
              <dgm:constr type="ctrY" for="ch" forName="circle2" refType="h" fact="0.625"/>
              <dgm:constr type="w" for="ch" forName="text2" refType="w" fact="0.3"/>
              <dgm:constr type="h" for="ch" forName="text2" refType="h" fact="0.21875"/>
              <dgm:constr type="r" for="ch" forName="text2" refType="w"/>
              <dgm:constr type="t" for="ch" forName="text2" refType="b" refFor="ch" refForName="text1"/>
              <dgm:constr type="l" for="ch" forName="line2" refType="w" fact="0.625"/>
              <dgm:constr type="ctrY" for="ch" forName="line2" refType="ctrY" refFor="ch" refForName="text2"/>
              <dgm:constr type="w" for="ch" forName="line2" refType="w" fact="0.075"/>
              <dgm:constr type="h" for="ch" forName="line2"/>
              <dgm:constr type="l" for="ch" forName="d2" refType="w" fact="0.386"/>
              <dgm:constr type="b" for="ch" forName="d2" refType="h" fact="0.72969"/>
              <dgm:constr type="w" for="ch" forName="d2" refType="w" fact="0.2387"/>
              <dgm:constr type="h" for="ch" forName="d2" refType="h" fact="0.4017"/>
              <dgm:constr type="w" for="ch" forName="circle3" refType="w" fact="0.6"/>
              <dgm:constr type="h" for="ch" forName="circle3" refType="w" refFor="ch" refForName="circle3"/>
              <dgm:constr type="ctrX" for="ch" forName="circle3" refType="ctrX" refFor="ch" refForName="circle1"/>
              <dgm:constr type="ctrY" for="ch" forName="circle3" refType="ctrY" refFor="ch" refForName="circle1"/>
              <dgm:constr type="w" for="ch" forName="text3" refType="w" fact="0.3"/>
              <dgm:constr type="h" for="ch" forName="text3" refType="h" fact="0.21875"/>
              <dgm:constr type="r" for="ch" forName="text3" refType="w"/>
              <dgm:constr type="t" for="ch" forName="text3" refType="b" refFor="ch" refForName="text2"/>
              <dgm:constr type="l" for="ch" forName="line3" refType="w" fact="0.625"/>
              <dgm:constr type="ctrY" for="ch" forName="line3" refType="ctrY" refFor="ch" refForName="text3"/>
              <dgm:constr type="w" for="ch" forName="line3" refType="w" fact="0.075"/>
              <dgm:constr type="h" for="ch" forName="line3"/>
              <dgm:constr type="l" for="ch" forName="d3" refType="w" fact="0.47175"/>
              <dgm:constr type="b" for="ch" forName="d3" refType="h" fact="0.83375"/>
              <dgm:constr type="w" for="ch" forName="d3" refType="w" fact="0.1527"/>
              <dgm:constr type="h" for="ch" forName="d3" refType="h" fact="0.287"/>
            </dgm:constrLst>
          </dgm:if>
          <dgm:if name="Name7" axis="ch" ptType="node" func="cnt" op="equ" val="4">
            <dgm:constrLst>
              <dgm:constr type="primFontSz" for="des" ptType="node" op="equ" val="65"/>
              <dgm:constr type="w" for="ch" forName="circle1" refType="w" fact="0.0857"/>
              <dgm:constr type="h" for="ch" forName="circle1" refType="w" refFor="ch" refForName="circle1"/>
              <dgm:constr type="ctrX" for="ch" forName="circle1" refType="w" fact="0.3"/>
              <dgm:constr type="ctrY" for="ch" forName="circle1" refType="h" fact="0.625"/>
              <dgm:constr type="w" for="ch" forName="text1" refType="w" fact="0.3"/>
              <dgm:constr type="h" for="ch" forName="text1" refType="h" fact="0.17938"/>
              <dgm:constr type="r" for="ch" forName="text1" refType="w"/>
              <dgm:constr type="t" for="ch" forName="text1"/>
              <dgm:constr type="l" for="ch" forName="line1" refType="w" fact="0.625"/>
              <dgm:constr type="ctrY" for="ch" forName="line1" refType="ctrY" refFor="ch" refForName="text1"/>
              <dgm:constr type="w" for="ch" forName="line1" refType="w" fact="0.075"/>
              <dgm:constr type="h" for="ch" forName="line1"/>
              <dgm:constr type="l" for="ch" forName="d1" refType="w" fact="0.295"/>
              <dgm:constr type="b" for="ch" forName="d1" refType="h" fact="0.62"/>
              <dgm:constr type="w" for="ch" forName="d1" refType="w" fact="0.33"/>
              <dgm:constr type="h" for="ch" forName="d1" refType="h" fact="0.53"/>
              <dgm:constr type="w" for="ch" forName="circle2" refType="w" fact="0.2571"/>
              <dgm:constr type="h" for="ch" forName="circle2" refType="w" refFor="ch" refForName="circle2"/>
              <dgm:constr type="ctrX" for="ch" forName="circle2" refType="w" fact="0.3"/>
              <dgm:constr type="ctrY" for="ch" forName="circle2" refType="h" fact="0.625"/>
              <dgm:constr type="w" for="ch" forName="text2" refType="w" fact="0.3"/>
              <dgm:constr type="h" for="ch" forName="text2" refType="h" fact="0.17938"/>
              <dgm:constr type="r" for="ch" forName="text2" refType="w"/>
              <dgm:constr type="t" for="ch" forName="text2" refType="b" refFor="ch" refForName="text1"/>
              <dgm:constr type="l" for="ch" forName="line2" refType="w" fact="0.625"/>
              <dgm:constr type="ctrY" for="ch" forName="line2" refType="ctrY" refFor="ch" refForName="text2"/>
              <dgm:constr type="w" for="ch" forName="line2" refType="w" fact="0.075"/>
              <dgm:constr type="h" for="ch" forName="line2"/>
              <dgm:constr type="l" for="ch" forName="d2" refType="w" fact="0.36625"/>
              <dgm:constr type="b" for="ch" forName="d2" refType="h" fact="0.70438"/>
              <dgm:constr type="w" for="ch" forName="d2" refType="w" fact="0.2585"/>
              <dgm:constr type="h" for="ch" forName="d2" refType="h" fact="0.43525"/>
              <dgm:constr type="w" for="ch" forName="circle3" refType="w" fact="0.4285"/>
              <dgm:constr type="h" for="ch" forName="circle3" refType="w" refFor="ch" refForName="circle3"/>
              <dgm:constr type="ctrX" for="ch" forName="circle3" refType="ctrX" refFor="ch" refForName="circle1"/>
              <dgm:constr type="ctrY" for="ch" forName="circle3" refType="ctrY" refFor="ch" refForName="circle1"/>
              <dgm:constr type="w" for="ch" forName="text3" refType="w" fact="0.3"/>
              <dgm:constr type="h" for="ch" forName="text3" refType="h" fact="0.17938"/>
              <dgm:constr type="r" for="ch" forName="text3" refType="w"/>
              <dgm:constr type="t" for="ch" forName="text3" refType="b" refFor="ch" refForName="text2"/>
              <dgm:constr type="l" for="ch" forName="line3" refType="w" fact="0.625"/>
              <dgm:constr type="ctrY" for="ch" forName="line3" refType="ctrY" refFor="ch" refForName="text3"/>
              <dgm:constr type="w" for="ch" forName="line3" refType="w" fact="0.075"/>
              <dgm:constr type="h" for="ch" forName="line3"/>
              <dgm:constr type="l" for="ch" forName="d3" refType="w" fact="0.4255"/>
              <dgm:constr type="b" for="ch" forName="d3" refType="h" fact="0.78031"/>
              <dgm:constr type="w" for="ch" forName="d3" refType="w" fact="0.1995"/>
              <dgm:constr type="h" for="ch" forName="d3" refType="h" fact="0.332"/>
              <dgm:constr type="w" for="ch" forName="circle4" refType="w" fact="0.6"/>
              <dgm:constr type="h" for="ch" forName="circle4" refType="w" refFor="ch" refForName="circle4"/>
              <dgm:constr type="ctrX" for="ch" forName="circle4" refType="ctrX" refFor="ch" refForName="circle1"/>
              <dgm:constr type="ctrY" for="ch" forName="circle4" refType="ctrY" refFor="ch" refForName="circle1"/>
              <dgm:constr type="w" for="ch" forName="text4" refType="w" fact="0.3"/>
              <dgm:constr type="h" for="ch" forName="text4" refType="h" fact="0.17938"/>
              <dgm:constr type="r" for="ch" forName="text4" refType="w"/>
              <dgm:constr type="t" for="ch" forName="text4" refType="b" refFor="ch" refForName="text3"/>
              <dgm:constr type="l" for="ch" forName="line4" refType="w" fact="0.625"/>
              <dgm:constr type="ctrY" for="ch" forName="line4" refType="ctrY" refFor="ch" refForName="text4"/>
              <dgm:constr type="w" for="ch" forName="line4" refType="w" fact="0.075"/>
              <dgm:constr type="h" for="ch" forName="line4"/>
              <dgm:constr type="l" for="ch" forName="d4" refType="w" fact="0.48525"/>
              <dgm:constr type="b" for="ch" forName="d4" refType="h" fact="0.85594"/>
              <dgm:constr type="w" for="ch" forName="d4" refType="w" fact="0.1394"/>
              <dgm:constr type="h" for="ch" forName="d4" refType="h" fact="0.2282"/>
            </dgm:constrLst>
          </dgm:if>
          <dgm:if name="Name8" axis="ch" ptType="node" func="cnt" op="gte" val="5">
            <dgm:constrLst>
              <dgm:constr type="primFontSz" for="des" ptType="node" op="equ" val="65"/>
              <dgm:constr type="w" for="ch" forName="circle1" refType="w" fact="0.0667"/>
              <dgm:constr type="h" for="ch" forName="circle1" refType="w" refFor="ch" refForName="circle1"/>
              <dgm:constr type="ctrX" for="ch" forName="circle1" refType="w" fact="0.3"/>
              <dgm:constr type="ctrY" for="ch" forName="circle1" refType="h" fact="0.625"/>
              <dgm:constr type="w" for="ch" forName="text1" refType="w" fact="0.3"/>
              <dgm:constr type="h" for="ch" forName="text1" refType="h" fact="0.1324"/>
              <dgm:constr type="r" for="ch" forName="text1" refType="w"/>
              <dgm:constr type="ctrY" for="ch" forName="text1" refType="h" fact="0.13"/>
              <dgm:constr type="l" for="ch" forName="line1" refType="w" fact="0.625"/>
              <dgm:constr type="ctrY" for="ch" forName="line1" refType="ctrY" refFor="ch" refForName="text1"/>
              <dgm:constr type="w" for="ch" forName="line1" refType="w" fact="0.075"/>
              <dgm:constr type="h" for="ch" forName="line1"/>
              <dgm:constr type="l" for="ch" forName="d1" refType="w" fact="0.3"/>
              <dgm:constr type="b" for="ch" forName="d1" refType="h" fact="0.625"/>
              <dgm:constr type="w" for="ch" forName="d1" refType="w" fact="0.3245"/>
              <dgm:constr type="h" for="ch" forName="d1" refType="h" fact="0.495"/>
              <dgm:constr type="w" for="ch" forName="circle2" refType="w" fact="0.2"/>
              <dgm:constr type="h" for="ch" forName="circle2" refType="w" refFor="ch" refForName="circle2"/>
              <dgm:constr type="ctrX" for="ch" forName="circle2" refType="w" fact="0.3"/>
              <dgm:constr type="ctrY" for="ch" forName="circle2" refType="h" fact="0.625"/>
              <dgm:constr type="w" for="ch" forName="text2" refType="w" fact="0.3"/>
              <dgm:constr type="h" for="ch" forName="text2" refType="h" fact="0.1324"/>
              <dgm:constr type="r" for="ch" forName="text2" refType="w"/>
              <dgm:constr type="ctrY" for="ch" forName="text2" refType="h" fact="0.27"/>
              <dgm:constr type="l" for="ch" forName="line2" refType="w" fact="0.625"/>
              <dgm:constr type="ctrY" for="ch" forName="line2" refType="ctrY" refFor="ch" refForName="text2"/>
              <dgm:constr type="w" for="ch" forName="line2" refType="w" fact="0.075"/>
              <dgm:constr type="h" for="ch" forName="line2"/>
              <dgm:constr type="l" for="ch" forName="d2" refType="w" fact="0.3498"/>
              <dgm:constr type="b" for="ch" forName="d2" refType="h" fact="0.682"/>
              <dgm:constr type="w" for="ch" forName="d2" refType="w" fact="0.275"/>
              <dgm:constr type="h" for="ch" forName="d2" refType="h" fact="0.41215"/>
              <dgm:constr type="w" for="ch" forName="circle3" refType="w" fact="0.3334"/>
              <dgm:constr type="h" for="ch" forName="circle3" refType="w" refFor="ch" refForName="circle3"/>
              <dgm:constr type="ctrX" for="ch" forName="circle3" refType="ctrX" refFor="ch" refForName="circle1"/>
              <dgm:constr type="ctrY" for="ch" forName="circle3" refType="ctrY" refFor="ch" refForName="circle1"/>
              <dgm:constr type="w" for="ch" forName="text3" refType="w" fact="0.3"/>
              <dgm:constr type="h" for="ch" forName="text3" refType="h" fact="0.1324"/>
              <dgm:constr type="r" for="ch" forName="text3" refType="w"/>
              <dgm:constr type="ctrY" for="ch" forName="text3" refType="h" fact="0.41"/>
              <dgm:constr type="l" for="ch" forName="line3" refType="w" fact="0.625"/>
              <dgm:constr type="ctrY" for="ch" forName="line3" refType="ctrY" refFor="ch" refForName="text3"/>
              <dgm:constr type="w" for="ch" forName="line3" refType="w" fact="0.075"/>
              <dgm:constr type="h" for="ch" forName="line3"/>
              <dgm:constr type="l" for="ch" forName="d3" refType="w" fact="0.394"/>
              <dgm:constr type="b" for="ch" forName="d3" refType="h" fact="0.735"/>
              <dgm:constr type="w" for="ch" forName="d3" refType="w" fact="0.231"/>
              <dgm:constr type="h" for="ch" forName="d3" refType="h" fact="0.325"/>
              <dgm:constr type="w" for="ch" forName="circle4" refType="w" fact="0.4667"/>
              <dgm:constr type="h" for="ch" forName="circle4" refType="w" refFor="ch" refForName="circle4"/>
              <dgm:constr type="ctrX" for="ch" forName="circle4" refType="ctrX" refFor="ch" refForName="circle1"/>
              <dgm:constr type="ctrY" for="ch" forName="circle4" refType="ctrY" refFor="ch" refForName="circle1"/>
              <dgm:constr type="w" for="ch" forName="text4" refType="w" fact="0.3"/>
              <dgm:constr type="h" for="ch" forName="text4" refType="h" fact="0.1324"/>
              <dgm:constr type="r" for="ch" forName="text4" refType="w"/>
              <dgm:constr type="ctrY" for="ch" forName="text4" refType="h" fact="0.547"/>
              <dgm:constr type="l" for="ch" forName="line4" refType="w" fact="0.625"/>
              <dgm:constr type="ctrY" for="ch" forName="line4" refType="ctrY" refFor="ch" refForName="text4"/>
              <dgm:constr type="w" for="ch" forName="line4" refType="w" fact="0.075"/>
              <dgm:constr type="h" for="ch" forName="line4"/>
              <dgm:constr type="l" for="ch" forName="d4" refType="w" fact="0.446"/>
              <dgm:constr type="b" for="ch" forName="d4" refType="h" fact="0.795"/>
              <dgm:constr type="w" for="ch" forName="d4" refType="w" fact="0.179"/>
              <dgm:constr type="h" for="ch" forName="d4" refType="h" fact="0.248"/>
              <dgm:constr type="w" for="ch" forName="circle5" refType="w" fact="0.6"/>
              <dgm:constr type="h" for="ch" forName="circle5" refType="w" refFor="ch" refForName="circle5"/>
              <dgm:constr type="ctrX" for="ch" forName="circle5" refType="ctrX" refFor="ch" refForName="circle1"/>
              <dgm:constr type="ctrY" for="ch" forName="circle5" refType="ctrY" refFor="ch" refForName="circle1"/>
              <dgm:constr type="w" for="ch" forName="text5" refType="w" fact="0.3"/>
              <dgm:constr type="h" for="ch" forName="text5" refType="h" fact="0.1324"/>
              <dgm:constr type="r" for="ch" forName="text5" refType="w"/>
              <dgm:constr type="ctrY" for="ch" forName="text5" refType="h" fact="0.68"/>
              <dgm:constr type="l" for="ch" forName="line5" refType="w" fact="0.625"/>
              <dgm:constr type="ctrY" for="ch" forName="line5" refType="ctrY" refFor="ch" refForName="text5"/>
              <dgm:constr type="w" for="ch" forName="line5" refType="w" fact="0.075"/>
              <dgm:constr type="h" for="ch" forName="line5"/>
              <dgm:constr type="l" for="ch" forName="d5" refType="w" fact="0.495"/>
              <dgm:constr type="b" for="ch" forName="d5" refType="h" fact="0.855"/>
              <dgm:constr type="w" for="ch" forName="d5" refType="w" fact="0.13"/>
              <dgm:constr type="h" for="ch" forName="d5" refType="h" fact="0.175"/>
            </dgm:constrLst>
          </dgm:if>
          <dgm:else name="Name9"/>
        </dgm:choose>
      </dgm:if>
      <dgm:else name="Name10">
        <dgm:choose name="Name11">
          <dgm:if name="Name12" axis="ch" ptType="node" func="cnt" op="equ" val="0">
            <dgm:constrLst/>
          </dgm:if>
          <dgm:if name="Name13" axis="ch" ptType="node" func="cnt" op="equ" val="1">
            <dgm:constrLst>
              <dgm:constr type="primFontSz" for="des" ptType="node" op="equ" val="65"/>
              <dgm:constr type="w" for="ch" forName="circle1" refType="w" fact="0.6"/>
              <dgm:constr type="h" for="ch" forName="circle1" refType="w" refFor="ch" refForName="circle1"/>
              <dgm:constr type="ctrX" for="ch" forName="circle1" refType="w" fact="0.7"/>
              <dgm:constr type="ctrY" for="ch" forName="circle1" refType="h" fact="0.625"/>
              <dgm:constr type="w" for="ch" forName="text1" refType="w" fact="0.3"/>
              <dgm:constr type="h" for="ch" forName="text1" refType="h" fact="0.3125"/>
              <dgm:constr type="l" for="ch" forName="text1"/>
              <dgm:constr type="t" for="ch" forName="text1"/>
              <dgm:constr type="l" for="ch" forName="line1" refType="r" refFor="ch" refForName="text1"/>
              <dgm:constr type="ctrY" for="ch" forName="line1" refType="ctrY" refFor="ch" refForName="text1"/>
              <dgm:constr type="r" for="ch" forName="line1" refType="w" fact="0.375"/>
              <dgm:constr type="h" for="ch" forName="line1"/>
              <dgm:constr type="r" for="ch" forName="d1" refType="w" fact="0.7"/>
              <dgm:constr type="b" for="ch" forName="d1" refType="h" fact="0.625"/>
              <dgm:constr type="w" for="ch" forName="d1" refType="w" fact="0.32475"/>
              <dgm:constr type="h" for="ch" forName="d1" refType="h" fact="0.469"/>
            </dgm:constrLst>
          </dgm:if>
          <dgm:if name="Name14" axis="ch" ptType="node" func="cnt" op="equ" val="2">
            <dgm:constrLst>
              <dgm:constr type="primFontSz" for="des" ptType="node" op="equ" val="65"/>
              <dgm:constr type="w" for="ch" forName="circle1" refType="w" fact="0.2"/>
              <dgm:constr type="h" for="ch" forName="circle1" refType="w" refFor="ch" refForName="circle1"/>
              <dgm:constr type="ctrX" for="ch" forName="circle1" refType="w" fact="0.7"/>
              <dgm:constr type="ctrY" for="ch" forName="circle1" refType="h" fact="0.625"/>
              <dgm:constr type="w" for="ch" forName="text1" refType="w" fact="0.3"/>
              <dgm:constr type="h" for="ch" forName="text1" refType="h" fact="0.3125"/>
              <dgm:constr type="l" for="ch" forName="text1"/>
              <dgm:constr type="t" for="ch" forName="text1"/>
              <dgm:constr type="l" for="ch" forName="line1" refType="r" refFor="ch" refForName="text1"/>
              <dgm:constr type="ctrY" for="ch" forName="line1" refType="ctrY" refFor="ch" refForName="text1"/>
              <dgm:constr type="r" for="ch" forName="line1" refType="w" fact="0.375"/>
              <dgm:constr type="h" for="ch" forName="line1"/>
              <dgm:constr type="r" for="ch" forName="d1" refType="w" fact="0.7"/>
              <dgm:constr type="b" for="ch" forName="d1" refType="h" fact="0.625"/>
              <dgm:constr type="w" for="ch" forName="d1" refType="w" fact="0.32475"/>
              <dgm:constr type="h" for="ch" forName="d1" refType="h" fact="0.469"/>
              <dgm:constr type="w" for="ch" forName="circle2" refType="w" fact="0.6"/>
              <dgm:constr type="h" for="ch" forName="circle2" refType="w" refFor="ch" refForName="circle2"/>
              <dgm:constr type="ctrX" for="ch" forName="circle2" refType="w" fact="0.7"/>
              <dgm:constr type="ctrY" for="ch" forName="circle2" refType="h" fact="0.625"/>
              <dgm:constr type="w" for="ch" forName="text2" refType="w" fact="0.3"/>
              <dgm:constr type="h" for="ch" forName="text2" refType="h" fact="0.3125"/>
              <dgm:constr type="l" for="ch" forName="text2"/>
              <dgm:constr type="t" for="ch" forName="text2" refType="b" refFor="ch" refForName="text1"/>
              <dgm:constr type="l" for="ch" forName="line2" refType="r" refFor="ch" refForName="text2"/>
              <dgm:constr type="ctrY" for="ch" forName="line2" refType="ctrY" refFor="ch" refForName="text2"/>
              <dgm:constr type="r" for="ch" forName="line2" refType="w" fact="0.375"/>
              <dgm:constr type="h" for="ch" forName="line2"/>
              <dgm:constr type="r" for="ch" forName="d2" refType="w" fact="0.55675"/>
              <dgm:constr type="b" for="ch" forName="d2" refType="h" fact="0.7975"/>
              <dgm:constr type="w" for="ch" forName="d2" refType="w" fact="0.1815"/>
              <dgm:constr type="h" for="ch" forName="d2" refType="h" fact="0.3283"/>
            </dgm:constrLst>
          </dgm:if>
          <dgm:if name="Name15" axis="ch" ptType="node" func="cnt" op="equ" val="3">
            <dgm:constrLst>
              <dgm:constr type="primFontSz" for="des" ptType="node" op="equ" val="65"/>
              <dgm:constr type="w" for="ch" forName="circle1" refType="w" fact="0.12"/>
              <dgm:constr type="h" for="ch" forName="circle1" refType="w" refFor="ch" refForName="circle1"/>
              <dgm:constr type="ctrX" for="ch" forName="circle1" refType="w" fact="0.7"/>
              <dgm:constr type="ctrY" for="ch" forName="circle1" refType="h" fact="0.625"/>
              <dgm:constr type="w" for="ch" forName="text1" refType="w" fact="0.3"/>
              <dgm:constr type="h" for="ch" forName="text1" refType="h" fact="0.21875"/>
              <dgm:constr type="l" for="ch" forName="text1"/>
              <dgm:constr type="t" for="ch" forName="text1"/>
              <dgm:constr type="l" for="ch" forName="line1" refType="r" refFor="ch" refForName="text1"/>
              <dgm:constr type="ctrY" for="ch" forName="line1" refType="ctrY" refFor="ch" refForName="text1"/>
              <dgm:constr type="r" for="ch" forName="line1" refType="w" fact="0.375"/>
              <dgm:constr type="h" for="ch" forName="line1"/>
              <dgm:constr type="r" for="ch" forName="d1" refType="w" fact="0.7"/>
              <dgm:constr type="b" for="ch" forName="d1" refType="h" fact="0.625"/>
              <dgm:constr type="w" for="ch" forName="d1" refType="w" fact="0.3247"/>
              <dgm:constr type="h" for="ch" forName="d1" refType="h" fact="0.5155"/>
              <dgm:constr type="w" for="ch" forName="circle2" refType="w" fact="0.36"/>
              <dgm:constr type="h" for="ch" forName="circle2" refType="w" refFor="ch" refForName="circle2"/>
              <dgm:constr type="ctrX" for="ch" forName="circle2" refType="w" fact="0.7"/>
              <dgm:constr type="ctrY" for="ch" forName="circle2" refType="h" fact="0.625"/>
              <dgm:constr type="w" for="ch" forName="text2" refType="w" fact="0.3"/>
              <dgm:constr type="h" for="ch" forName="text2" refType="h" fact="0.21875"/>
              <dgm:constr type="l" for="ch" forName="text2"/>
              <dgm:constr type="t" for="ch" forName="text2" refType="b" refFor="ch" refForName="text1"/>
              <dgm:constr type="l" for="ch" forName="line2" refType="r" refFor="ch" refForName="text2"/>
              <dgm:constr type="ctrY" for="ch" forName="line2" refType="ctrY" refFor="ch" refForName="text2"/>
              <dgm:constr type="r" for="ch" forName="line2" refType="w" fact="0.375"/>
              <dgm:constr type="h" for="ch" forName="line2"/>
              <dgm:constr type="r" for="ch" forName="d2" refType="w" fact="0.614"/>
              <dgm:constr type="b" for="ch" forName="d2" refType="h" fact="0.72969"/>
              <dgm:constr type="w" for="ch" forName="d2" refType="w" fact="0.2387"/>
              <dgm:constr type="h" for="ch" forName="d2" refType="h" fact="0.4017"/>
              <dgm:constr type="w" for="ch" forName="circle3" refType="w" fact="0.6"/>
              <dgm:constr type="h" for="ch" forName="circle3" refType="w" refFor="ch" refForName="circle3"/>
              <dgm:constr type="ctrX" for="ch" forName="circle3" refType="ctrX" refFor="ch" refForName="circle1"/>
              <dgm:constr type="ctrY" for="ch" forName="circle3" refType="ctrY" refFor="ch" refForName="circle1"/>
              <dgm:constr type="w" for="ch" forName="text3" refType="w" fact="0.3"/>
              <dgm:constr type="h" for="ch" forName="text3" refType="h" fact="0.21875"/>
              <dgm:constr type="l" for="ch" forName="text3"/>
              <dgm:constr type="t" for="ch" forName="text3" refType="b" refFor="ch" refForName="text2"/>
              <dgm:constr type="l" for="ch" forName="line3" refType="r" refFor="ch" refForName="text3"/>
              <dgm:constr type="ctrY" for="ch" forName="line3" refType="ctrY" refFor="ch" refForName="text3"/>
              <dgm:constr type="r" for="ch" forName="line3" refType="w" fact="0.375"/>
              <dgm:constr type="h" for="ch" forName="line3"/>
              <dgm:constr type="r" for="ch" forName="d3" refType="w" fact="0.52825"/>
              <dgm:constr type="b" for="ch" forName="d3" refType="h" fact="0.83375"/>
              <dgm:constr type="w" for="ch" forName="d3" refType="w" fact="0.1527"/>
              <dgm:constr type="h" for="ch" forName="d3" refType="h" fact="0.287"/>
            </dgm:constrLst>
          </dgm:if>
          <dgm:if name="Name16" axis="ch" ptType="node" func="cnt" op="equ" val="4">
            <dgm:constrLst>
              <dgm:constr type="primFontSz" for="des" ptType="node" op="equ" val="65"/>
              <dgm:constr type="w" for="ch" forName="circle1" refType="w" fact="0.0857"/>
              <dgm:constr type="h" for="ch" forName="circle1" refType="w" refFor="ch" refForName="circle1"/>
              <dgm:constr type="ctrX" for="ch" forName="circle1" refType="w" fact="0.7"/>
              <dgm:constr type="ctrY" for="ch" forName="circle1" refType="h" fact="0.625"/>
              <dgm:constr type="w" for="ch" forName="text1" refType="w" fact="0.3"/>
              <dgm:constr type="h" for="ch" forName="text1" refType="h" fact="0.17938"/>
              <dgm:constr type="l" for="ch" forName="text1"/>
              <dgm:constr type="t" for="ch" forName="text1"/>
              <dgm:constr type="l" for="ch" forName="line1" refType="r" refFor="ch" refForName="text1"/>
              <dgm:constr type="ctrY" for="ch" forName="line1" refType="ctrY" refFor="ch" refForName="text1"/>
              <dgm:constr type="r" for="ch" forName="line1" refType="w" fact="0.375"/>
              <dgm:constr type="h" for="ch" forName="line1"/>
              <dgm:constr type="r" for="ch" forName="d1" refType="w" fact="0.705"/>
              <dgm:constr type="b" for="ch" forName="d1" refType="h" fact="0.62"/>
              <dgm:constr type="w" for="ch" forName="d1" refType="w" fact="0.33"/>
              <dgm:constr type="h" for="ch" forName="d1" refType="h" fact="0.53"/>
              <dgm:constr type="w" for="ch" forName="circle2" refType="w" fact="0.2571"/>
              <dgm:constr type="h" for="ch" forName="circle2" refType="w" refFor="ch" refForName="circle2"/>
              <dgm:constr type="ctrX" for="ch" forName="circle2" refType="w" fact="0.7"/>
              <dgm:constr type="ctrY" for="ch" forName="circle2" refType="h" fact="0.625"/>
              <dgm:constr type="w" for="ch" forName="text2" refType="w" fact="0.3"/>
              <dgm:constr type="h" for="ch" forName="text2" refType="h" fact="0.17938"/>
              <dgm:constr type="l" for="ch" forName="text2"/>
              <dgm:constr type="t" for="ch" forName="text2" refType="b" refFor="ch" refForName="text1"/>
              <dgm:constr type="l" for="ch" forName="line2" refType="r" refFor="ch" refForName="text2"/>
              <dgm:constr type="ctrY" for="ch" forName="line2" refType="ctrY" refFor="ch" refForName="text2"/>
              <dgm:constr type="r" for="ch" forName="line2" refType="w" fact="0.375"/>
              <dgm:constr type="h" for="ch" forName="line2"/>
              <dgm:constr type="r" for="ch" forName="d2" refType="w" fact="0.63375"/>
              <dgm:constr type="b" for="ch" forName="d2" refType="h" fact="0.70438"/>
              <dgm:constr type="w" for="ch" forName="d2" refType="w" fact="0.2585"/>
              <dgm:constr type="h" for="ch" forName="d2" refType="h" fact="0.43525"/>
              <dgm:constr type="w" for="ch" forName="circle3" refType="w" fact="0.4285"/>
              <dgm:constr type="h" for="ch" forName="circle3" refType="w" refFor="ch" refForName="circle3"/>
              <dgm:constr type="ctrX" for="ch" forName="circle3" refType="ctrX" refFor="ch" refForName="circle1"/>
              <dgm:constr type="ctrY" for="ch" forName="circle3" refType="ctrY" refFor="ch" refForName="circle1"/>
              <dgm:constr type="w" for="ch" forName="text3" refType="w" fact="0.3"/>
              <dgm:constr type="h" for="ch" forName="text3" refType="h" fact="0.17938"/>
              <dgm:constr type="l" for="ch" forName="text3"/>
              <dgm:constr type="t" for="ch" forName="text3" refType="b" refFor="ch" refForName="text2"/>
              <dgm:constr type="l" for="ch" forName="line3" refType="r" refFor="ch" refForName="text3"/>
              <dgm:constr type="ctrY" for="ch" forName="line3" refType="ctrY" refFor="ch" refForName="text3"/>
              <dgm:constr type="r" for="ch" forName="line3" refType="w" fact="0.375"/>
              <dgm:constr type="h" for="ch" forName="line3"/>
              <dgm:constr type="r" for="ch" forName="d3" refType="w" fact="0.5745"/>
              <dgm:constr type="b" for="ch" forName="d3" refType="h" fact="0.78031"/>
              <dgm:constr type="w" for="ch" forName="d3" refType="w" fact="0.1995"/>
              <dgm:constr type="h" for="ch" forName="d3" refType="h" fact="0.332"/>
              <dgm:constr type="w" for="ch" forName="circle4" refType="w" fact="0.6"/>
              <dgm:constr type="h" for="ch" forName="circle4" refType="w" refFor="ch" refForName="circle4"/>
              <dgm:constr type="ctrX" for="ch" forName="circle4" refType="ctrX" refFor="ch" refForName="circle1"/>
              <dgm:constr type="ctrY" for="ch" forName="circle4" refType="ctrY" refFor="ch" refForName="circle1"/>
              <dgm:constr type="w" for="ch" forName="text4" refType="w" fact="0.3"/>
              <dgm:constr type="h" for="ch" forName="text4" refType="h" fact="0.17938"/>
              <dgm:constr type="l" for="ch" forName="text4"/>
              <dgm:constr type="t" for="ch" forName="text4" refType="b" refFor="ch" refForName="text3"/>
              <dgm:constr type="l" for="ch" forName="line4" refType="r" refFor="ch" refForName="text4"/>
              <dgm:constr type="ctrY" for="ch" forName="line4" refType="ctrY" refFor="ch" refForName="text4"/>
              <dgm:constr type="r" for="ch" forName="line4" refType="w" fact="0.375"/>
              <dgm:constr type="h" for="ch" forName="line4"/>
              <dgm:constr type="r" for="ch" forName="d4" refType="w" fact="0.51475"/>
              <dgm:constr type="b" for="ch" forName="d4" refType="h" fact="0.85594"/>
              <dgm:constr type="w" for="ch" forName="d4" refType="w" fact="0.1394"/>
              <dgm:constr type="h" for="ch" forName="d4" refType="h" fact="0.2282"/>
            </dgm:constrLst>
          </dgm:if>
          <dgm:if name="Name17" axis="ch" ptType="node" func="cnt" op="gte" val="5">
            <dgm:constrLst>
              <dgm:constr type="primFontSz" for="des" ptType="node" op="equ" val="65"/>
              <dgm:constr type="w" for="ch" forName="circle1" refType="w" fact="0.0667"/>
              <dgm:constr type="h" for="ch" forName="circle1" refType="w" refFor="ch" refForName="circle1"/>
              <dgm:constr type="ctrX" for="ch" forName="circle1" refType="w" fact="0.7"/>
              <dgm:constr type="ctrY" for="ch" forName="circle1" refType="h" fact="0.625"/>
              <dgm:constr type="w" for="ch" forName="text1" refType="w" fact="0.3"/>
              <dgm:constr type="h" for="ch" forName="text1" refType="h" fact="0.1324"/>
              <dgm:constr type="l" for="ch" forName="text1"/>
              <dgm:constr type="ctrY" for="ch" forName="text1" refType="h" fact="0.13"/>
              <dgm:constr type="l" for="ch" forName="line1" refType="r" refFor="ch" refForName="text1"/>
              <dgm:constr type="ctrY" for="ch" forName="line1" refType="ctrY" refFor="ch" refForName="text1"/>
              <dgm:constr type="r" for="ch" forName="line1" refType="w" fact="0.375"/>
              <dgm:constr type="h" for="ch" forName="line1"/>
              <dgm:constr type="r" for="ch" forName="d1" refType="w" fact="0.7"/>
              <dgm:constr type="b" for="ch" forName="d1" refType="h" fact="0.625"/>
              <dgm:constr type="w" for="ch" forName="d1" refType="w" fact="0.3245"/>
              <dgm:constr type="h" for="ch" forName="d1" refType="h" fact="0.495"/>
              <dgm:constr type="w" for="ch" forName="circle2" refType="w" fact="0.2"/>
              <dgm:constr type="h" for="ch" forName="circle2" refType="w" refFor="ch" refForName="circle2"/>
              <dgm:constr type="ctrX" for="ch" forName="circle2" refType="w" fact="0.7"/>
              <dgm:constr type="ctrY" for="ch" forName="circle2" refType="h" fact="0.625"/>
              <dgm:constr type="w" for="ch" forName="text2" refType="w" fact="0.3"/>
              <dgm:constr type="h" for="ch" forName="text2" refType="h" fact="0.1324"/>
              <dgm:constr type="l" for="ch" forName="text2"/>
              <dgm:constr type="ctrY" for="ch" forName="text2" refType="h" fact="0.27"/>
              <dgm:constr type="l" for="ch" forName="line2" refType="r" refFor="ch" refForName="text2"/>
              <dgm:constr type="ctrY" for="ch" forName="line2" refType="ctrY" refFor="ch" refForName="text2"/>
              <dgm:constr type="r" for="ch" forName="line2" refType="w" fact="0.375"/>
              <dgm:constr type="h" for="ch" forName="line2"/>
              <dgm:constr type="r" for="ch" forName="d2" refType="w" fact="0.6502"/>
              <dgm:constr type="b" for="ch" forName="d2" refType="h" fact="0.682"/>
              <dgm:constr type="w" for="ch" forName="d2" refType="w" fact="0.275"/>
              <dgm:constr type="h" for="ch" forName="d2" refType="h" fact="0.41215"/>
              <dgm:constr type="w" for="ch" forName="circle3" refType="w" fact="0.3334"/>
              <dgm:constr type="h" for="ch" forName="circle3" refType="w" refFor="ch" refForName="circle3"/>
              <dgm:constr type="ctrX" for="ch" forName="circle3" refType="ctrX" refFor="ch" refForName="circle1"/>
              <dgm:constr type="ctrY" for="ch" forName="circle3" refType="ctrY" refFor="ch" refForName="circle1"/>
              <dgm:constr type="w" for="ch" forName="text3" refType="w" fact="0.3"/>
              <dgm:constr type="h" for="ch" forName="text3" refType="h" fact="0.1324"/>
              <dgm:constr type="l" for="ch" forName="text3"/>
              <dgm:constr type="ctrY" for="ch" forName="text3" refType="h" fact="0.41"/>
              <dgm:constr type="l" for="ch" forName="line3" refType="r" refFor="ch" refForName="text3"/>
              <dgm:constr type="ctrY" for="ch" forName="line3" refType="ctrY" refFor="ch" refForName="text3"/>
              <dgm:constr type="r" for="ch" forName="line3" refType="w" fact="0.375"/>
              <dgm:constr type="h" for="ch" forName="line3"/>
              <dgm:constr type="r" for="ch" forName="d3" refType="w" fact="0.606"/>
              <dgm:constr type="b" for="ch" forName="d3" refType="h" fact="0.735"/>
              <dgm:constr type="w" for="ch" forName="d3" refType="w" fact="0.231"/>
              <dgm:constr type="h" for="ch" forName="d3" refType="h" fact="0.325"/>
              <dgm:constr type="w" for="ch" forName="circle4" refType="w" fact="0.4667"/>
              <dgm:constr type="h" for="ch" forName="circle4" refType="w" refFor="ch" refForName="circle4"/>
              <dgm:constr type="ctrX" for="ch" forName="circle4" refType="ctrX" refFor="ch" refForName="circle1"/>
              <dgm:constr type="ctrY" for="ch" forName="circle4" refType="ctrY" refFor="ch" refForName="circle1"/>
              <dgm:constr type="w" for="ch" forName="text4" refType="w" fact="0.3"/>
              <dgm:constr type="h" for="ch" forName="text4" refType="h" fact="0.1324"/>
              <dgm:constr type="l" for="ch" forName="text4"/>
              <dgm:constr type="ctrY" for="ch" forName="text4" refType="h" fact="0.547"/>
              <dgm:constr type="l" for="ch" forName="line4" refType="r" refFor="ch" refForName="text4"/>
              <dgm:constr type="ctrY" for="ch" forName="line4" refType="ctrY" refFor="ch" refForName="text4"/>
              <dgm:constr type="r" for="ch" forName="line4" refType="w" fact="0.375"/>
              <dgm:constr type="h" for="ch" forName="line4"/>
              <dgm:constr type="r" for="ch" forName="d4" refType="w" fact="0.554"/>
              <dgm:constr type="b" for="ch" forName="d4" refType="h" fact="0.795"/>
              <dgm:constr type="w" for="ch" forName="d4" refType="w" fact="0.179"/>
              <dgm:constr type="h" for="ch" forName="d4" refType="h" fact="0.248"/>
              <dgm:constr type="w" for="ch" forName="circle5" refType="w" fact="0.6"/>
              <dgm:constr type="h" for="ch" forName="circle5" refType="w" refFor="ch" refForName="circle5"/>
              <dgm:constr type="ctrX" for="ch" forName="circle5" refType="ctrX" refFor="ch" refForName="circle1"/>
              <dgm:constr type="ctrY" for="ch" forName="circle5" refType="ctrY" refFor="ch" refForName="circle1"/>
              <dgm:constr type="w" for="ch" forName="text5" refType="w" fact="0.3"/>
              <dgm:constr type="h" for="ch" forName="text5" refType="h" fact="0.1324"/>
              <dgm:constr type="l" for="ch" forName="text5"/>
              <dgm:constr type="ctrY" for="ch" forName="text5" refType="h" fact="0.68"/>
              <dgm:constr type="l" for="ch" forName="line5" refType="r" refFor="ch" refForName="text5"/>
              <dgm:constr type="ctrY" for="ch" forName="line5" refType="ctrY" refFor="ch" refForName="text5"/>
              <dgm:constr type="r" for="ch" forName="line5" refType="w" fact="0.375"/>
              <dgm:constr type="h" for="ch" forName="line5"/>
              <dgm:constr type="r" for="ch" forName="d5" refType="w" fact="0.505"/>
              <dgm:constr type="b" for="ch" forName="d5" refType="h" fact="0.855"/>
              <dgm:constr type="w" for="ch" forName="d5" refType="w" fact="0.13"/>
              <dgm:constr type="h" for="ch" forName="d5" refType="h" fact="0.175"/>
            </dgm:constrLst>
          </dgm:if>
          <dgm:else name="Name18"/>
        </dgm:choose>
      </dgm:else>
    </dgm:choose>
    <dgm:ruleLst/>
    <dgm:forEach name="Name19" axis="ch" ptType="node" cnt="1">
      <dgm:layoutNode name="circle1" styleLbl="l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text1" styleLbl="revTx">
        <dgm:varLst>
          <dgm:bulletEnabled val="1"/>
        </dgm:varLst>
        <dgm:choose name="Name20">
          <dgm:if name="Name21" func="var" arg="dir" op="equ" val="norm">
            <dgm:choose name="Name22">
              <dgm:if name="Name23" axis="root des" ptType="all node" func="maxDepth" op="gt" val="1">
                <dgm:alg type="tx">
                  <dgm:param type="parTxLTRAlign" val="l"/>
                  <dgm:param type="parTxRTLAlign" val="r"/>
                </dgm:alg>
              </dgm:if>
              <dgm:else name="Name24">
                <dgm:alg type="tx">
                  <dgm:param type="parTxLTRAlign" val="l"/>
                  <dgm:param type="parTxRTLAlign" val="l"/>
                </dgm:alg>
              </dgm:else>
            </dgm:choose>
          </dgm:if>
          <dgm:else name="Name25">
            <dgm:choose name="Name26">
              <dgm:if name="Name27" axis="root des" ptType="all node" func="maxDepth" op="gt" val="1">
                <dgm:alg type="tx">
                  <dgm:param type="parTxLTRAlign" val="l"/>
                  <dgm:param type="parTxRTLAlign" val="r"/>
                </dgm:alg>
              </dgm:if>
              <dgm:else name="Name28">
                <dgm:alg type="tx">
                  <dgm:param type="parTxLTRAlign" val="r"/>
                  <dgm:param type="parTxRTLAlign" val="r"/>
                </dgm:alg>
              </dgm:else>
            </dgm:choose>
          </dgm:else>
        </dgm:choose>
        <dgm:shape xmlns:r="http://schemas.openxmlformats.org/officeDocument/2006/relationships" type="rect" r:blip="">
          <dgm:adjLst/>
        </dgm:shape>
        <dgm:presOf axis="desOrSelf" ptType="node"/>
        <dgm:choose name="Name29">
          <dgm:if name="Name30" func="var" arg="dir" op="equ" val="norm">
            <dgm:constrLst>
              <dgm:constr type="tMarg" refType="primFontSz" fact="0.1"/>
              <dgm:constr type="bMarg" refType="primFontSz" fact="0.1"/>
              <dgm:constr type="rMarg" refType="primFontSz" fact="0.1"/>
            </dgm:constrLst>
          </dgm:if>
          <dgm:else name="Name31">
            <dgm:constrLst>
              <dgm:constr type="tMarg" refType="primFontSz" fact="0.1"/>
              <dgm:constr type="bMarg" refType="primFontSz" fact="0.1"/>
              <dgm:constr type="lMarg" refType="primFontSz" fact="0.1"/>
            </dgm:constrLst>
          </dgm:else>
        </dgm:choose>
        <dgm:ruleLst>
          <dgm:rule type="primFontSz" val="5" fact="NaN" max="NaN"/>
        </dgm:ruleLst>
      </dgm:layoutNode>
      <dgm:layoutNode name="line1" styleLbl="callout">
        <dgm:alg type="sp"/>
        <dgm:shape xmlns:r="http://schemas.openxmlformats.org/officeDocument/2006/relationships" type="line" r:blip="">
          <dgm:adjLst/>
        </dgm:shape>
        <dgm:presOf/>
        <dgm:constrLst/>
        <dgm:ruleLst/>
      </dgm:layoutNode>
      <dgm:layoutNode name="d1" styleLbl="callout">
        <dgm:alg type="sp"/>
        <dgm:choose name="Name32">
          <dgm:if name="Name33" func="var" arg="dir" op="equ" val="norm">
            <dgm:shape xmlns:r="http://schemas.openxmlformats.org/officeDocument/2006/relationships" rot="90" type="line" r:blip="">
              <dgm:adjLst/>
            </dgm:shape>
          </dgm:if>
          <dgm:else name="Name34">
            <dgm:shape xmlns:r="http://schemas.openxmlformats.org/officeDocument/2006/relationships" rot="180" type="line" r:blip="">
              <dgm:adjLst/>
            </dgm:shape>
          </dgm:else>
        </dgm:choose>
        <dgm:presOf/>
        <dgm:constrLst/>
        <dgm:ruleLst/>
      </dgm:layoutNode>
    </dgm:forEach>
    <dgm:forEach name="Name35" axis="ch" ptType="node" st="2" cnt="1">
      <dgm:layoutNode name="circle2" styleLbl="lnNode1">
        <dgm:alg type="sp"/>
        <dgm:shape xmlns:r="http://schemas.openxmlformats.org/officeDocument/2006/relationships" type="ellipse" r:blip="" zOrderOff="-5">
          <dgm:adjLst/>
        </dgm:shape>
        <dgm:presOf/>
        <dgm:constrLst/>
        <dgm:ruleLst/>
      </dgm:layoutNode>
      <dgm:layoutNode name="text2" styleLbl="revTx">
        <dgm:varLst>
          <dgm:bulletEnabled val="1"/>
        </dgm:varLst>
        <dgm:choose name="Name36">
          <dgm:if name="Name37" func="var" arg="dir" op="equ" val="norm">
            <dgm:choose name="Name38">
              <dgm:if name="Name39" axis="root des" ptType="all node" func="maxDepth" op="gt" val="1">
                <dgm:alg type="tx">
                  <dgm:param type="parTxLTRAlign" val="l"/>
                  <dgm:param type="parTxRTLAlign" val="r"/>
                </dgm:alg>
              </dgm:if>
              <dgm:else name="Name40">
                <dgm:alg type="tx">
                  <dgm:param type="parTxLTRAlign" val="l"/>
                  <dgm:param type="parTxRTLAlign" val="l"/>
                </dgm:alg>
              </dgm:else>
            </dgm:choose>
          </dgm:if>
          <dgm:else name="Name41">
            <dgm:choose name="Name42">
              <dgm:if name="Name43" axis="root des" ptType="all node" func="maxDepth" op="gt" val="1">
                <dgm:alg type="tx">
                  <dgm:param type="parTxLTRAlign" val="l"/>
                  <dgm:param type="parTxRTLAlign" val="r"/>
                </dgm:alg>
              </dgm:if>
              <dgm:else name="Name44">
                <dgm:alg type="tx">
                  <dgm:param type="parTxLTRAlign" val="r"/>
                  <dgm:param type="parTxRTLAlign" val="r"/>
                </dgm:alg>
              </dgm:else>
            </dgm:choose>
          </dgm:else>
        </dgm:choose>
        <dgm:shape xmlns:r="http://schemas.openxmlformats.org/officeDocument/2006/relationships" type="rect" r:blip="">
          <dgm:adjLst/>
        </dgm:shape>
        <dgm:presOf axis="desOrSelf" ptType="node"/>
        <dgm:choose name="Name45">
          <dgm:if name="Name46" func="var" arg="dir" op="equ" val="norm">
            <dgm:constrLst>
              <dgm:constr type="tMarg" refType="primFontSz" fact="0.1"/>
              <dgm:constr type="bMarg" refType="primFontSz" fact="0.1"/>
              <dgm:constr type="rMarg" refType="primFontSz" fact="0.1"/>
            </dgm:constrLst>
          </dgm:if>
          <dgm:else name="Name47">
            <dgm:constrLst>
              <dgm:constr type="tMarg" refType="primFontSz" fact="0.1"/>
              <dgm:constr type="bMarg" refType="primFontSz" fact="0.1"/>
              <dgm:constr type="lMarg" refType="primFontSz" fact="0.1"/>
            </dgm:constrLst>
          </dgm:else>
        </dgm:choose>
        <dgm:ruleLst>
          <dgm:rule type="primFontSz" val="5" fact="NaN" max="NaN"/>
        </dgm:ruleLst>
      </dgm:layoutNode>
      <dgm:layoutNode name="line2" styleLbl="callout">
        <dgm:alg type="sp"/>
        <dgm:shape xmlns:r="http://schemas.openxmlformats.org/officeDocument/2006/relationships" type="line" r:blip="">
          <dgm:adjLst/>
        </dgm:shape>
        <dgm:presOf/>
        <dgm:constrLst/>
        <dgm:ruleLst/>
      </dgm:layoutNode>
      <dgm:layoutNode name="d2" styleLbl="callout">
        <dgm:alg type="sp"/>
        <dgm:choose name="Name48">
          <dgm:if name="Name49" func="var" arg="dir" op="equ" val="norm">
            <dgm:shape xmlns:r="http://schemas.openxmlformats.org/officeDocument/2006/relationships" rot="90" type="line" r:blip="">
              <dgm:adjLst/>
            </dgm:shape>
          </dgm:if>
          <dgm:else name="Name50">
            <dgm:shape xmlns:r="http://schemas.openxmlformats.org/officeDocument/2006/relationships" rot="180" type="line" r:blip="">
              <dgm:adjLst/>
            </dgm:shape>
          </dgm:else>
        </dgm:choose>
        <dgm:presOf/>
        <dgm:constrLst/>
        <dgm:ruleLst/>
      </dgm:layoutNode>
    </dgm:forEach>
    <dgm:forEach name="Name51" axis="ch" ptType="node" st="3" cnt="1">
      <dgm:layoutNode name="circle3" styleLbl="lnNode1">
        <dgm:alg type="sp"/>
        <dgm:shape xmlns:r="http://schemas.openxmlformats.org/officeDocument/2006/relationships" type="ellipse" r:blip="" zOrderOff="-10">
          <dgm:adjLst/>
        </dgm:shape>
        <dgm:presOf/>
        <dgm:constrLst/>
        <dgm:ruleLst/>
      </dgm:layoutNode>
      <dgm:layoutNode name="text3" styleLbl="revTx">
        <dgm:varLst>
          <dgm:bulletEnabled val="1"/>
        </dgm:varLst>
        <dgm:choose name="Name52">
          <dgm:if name="Name53" func="var" arg="dir" op="equ" val="norm">
            <dgm:choose name="Name54">
              <dgm:if name="Name55" axis="root des" ptType="all node" func="maxDepth" op="gt" val="1">
                <dgm:alg type="tx">
                  <dgm:param type="parTxLTRAlign" val="l"/>
                  <dgm:param type="parTxRTLAlign" val="r"/>
                </dgm:alg>
              </dgm:if>
              <dgm:else name="Name56">
                <dgm:alg type="tx">
                  <dgm:param type="parTxLTRAlign" val="l"/>
                  <dgm:param type="parTxRTLAlign" val="l"/>
                </dgm:alg>
              </dgm:else>
            </dgm:choose>
          </dgm:if>
          <dgm:else name="Name57">
            <dgm:choose name="Name58">
              <dgm:if name="Name59" axis="root des" ptType="all node" func="maxDepth" op="gt" val="1">
                <dgm:alg type="tx">
                  <dgm:param type="parTxLTRAlign" val="l"/>
                  <dgm:param type="parTxRTLAlign" val="r"/>
                </dgm:alg>
              </dgm:if>
              <dgm:else name="Name60">
                <dgm:alg type="tx">
                  <dgm:param type="parTxLTRAlign" val="r"/>
                  <dgm:param type="parTxRTLAlign" val="r"/>
                </dgm:alg>
              </dgm:else>
            </dgm:choose>
          </dgm:else>
        </dgm:choose>
        <dgm:shape xmlns:r="http://schemas.openxmlformats.org/officeDocument/2006/relationships" type="rect" r:blip="">
          <dgm:adjLst/>
        </dgm:shape>
        <dgm:presOf axis="desOrSelf" ptType="node"/>
        <dgm:choose name="Name61">
          <dgm:if name="Name62" func="var" arg="dir" op="equ" val="norm">
            <dgm:constrLst>
              <dgm:constr type="tMarg" refType="primFontSz" fact="0.1"/>
              <dgm:constr type="bMarg" refType="primFontSz" fact="0.1"/>
              <dgm:constr type="rMarg" refType="primFontSz" fact="0.1"/>
            </dgm:constrLst>
          </dgm:if>
          <dgm:else name="Name63">
            <dgm:constrLst>
              <dgm:constr type="tMarg" refType="primFontSz" fact="0.1"/>
              <dgm:constr type="bMarg" refType="primFontSz" fact="0.1"/>
              <dgm:constr type="lMarg" refType="primFontSz" fact="0.1"/>
            </dgm:constrLst>
          </dgm:else>
        </dgm:choose>
        <dgm:ruleLst>
          <dgm:rule type="primFontSz" val="5" fact="NaN" max="NaN"/>
        </dgm:ruleLst>
      </dgm:layoutNode>
      <dgm:layoutNode name="line3" styleLbl="callout">
        <dgm:alg type="sp"/>
        <dgm:shape xmlns:r="http://schemas.openxmlformats.org/officeDocument/2006/relationships" type="line" r:blip="">
          <dgm:adjLst/>
        </dgm:shape>
        <dgm:presOf/>
        <dgm:constrLst/>
        <dgm:ruleLst/>
      </dgm:layoutNode>
      <dgm:layoutNode name="d3" styleLbl="callout">
        <dgm:alg type="sp"/>
        <dgm:choose name="Name64">
          <dgm:if name="Name65" func="var" arg="dir" op="equ" val="norm">
            <dgm:shape xmlns:r="http://schemas.openxmlformats.org/officeDocument/2006/relationships" rot="90" type="line" r:blip="">
              <dgm:adjLst/>
            </dgm:shape>
          </dgm:if>
          <dgm:else name="Name66">
            <dgm:shape xmlns:r="http://schemas.openxmlformats.org/officeDocument/2006/relationships" rot="180" type="line" r:blip="">
              <dgm:adjLst/>
            </dgm:shape>
          </dgm:else>
        </dgm:choose>
        <dgm:presOf/>
        <dgm:constrLst/>
        <dgm:ruleLst/>
      </dgm:layoutNode>
    </dgm:forEach>
    <dgm:forEach name="Name67" axis="ch" ptType="node" st="4" cnt="1">
      <dgm:layoutNode name="circle4" styleLbl="lnNode1">
        <dgm:alg type="sp"/>
        <dgm:shape xmlns:r="http://schemas.openxmlformats.org/officeDocument/2006/relationships" type="ellipse" r:blip="" zOrderOff="-15">
          <dgm:adjLst/>
        </dgm:shape>
        <dgm:presOf/>
        <dgm:constrLst/>
        <dgm:ruleLst/>
      </dgm:layoutNode>
      <dgm:layoutNode name="text4" styleLbl="revTx">
        <dgm:varLst>
          <dgm:bulletEnabled val="1"/>
        </dgm:varLst>
        <dgm:choose name="Name68">
          <dgm:if name="Name69" func="var" arg="dir" op="equ" val="norm">
            <dgm:choose name="Name70">
              <dgm:if name="Name71" axis="root des" ptType="all node" func="maxDepth" op="gt" val="1">
                <dgm:alg type="tx">
                  <dgm:param type="parTxLTRAlign" val="l"/>
                  <dgm:param type="parTxRTLAlign" val="r"/>
                </dgm:alg>
              </dgm:if>
              <dgm:else name="Name72">
                <dgm:alg type="tx">
                  <dgm:param type="parTxLTRAlign" val="l"/>
                  <dgm:param type="parTxRTLAlign" val="l"/>
                </dgm:alg>
              </dgm:else>
            </dgm:choose>
          </dgm:if>
          <dgm:else name="Name73">
            <dgm:choose name="Name74">
              <dgm:if name="Name75" axis="root des" ptType="all node" func="maxDepth" op="gt" val="1">
                <dgm:alg type="tx">
                  <dgm:param type="parTxLTRAlign" val="l"/>
                  <dgm:param type="parTxRTLAlign" val="r"/>
                </dgm:alg>
              </dgm:if>
              <dgm:else name="Name76">
                <dgm:alg type="tx">
                  <dgm:param type="parTxLTRAlign" val="r"/>
                  <dgm:param type="parTxRTLAlign" val="r"/>
                </dgm:alg>
              </dgm:else>
            </dgm:choose>
          </dgm:else>
        </dgm:choose>
        <dgm:shape xmlns:r="http://schemas.openxmlformats.org/officeDocument/2006/relationships" type="rect" r:blip="">
          <dgm:adjLst/>
        </dgm:shape>
        <dgm:presOf axis="desOrSelf" ptType="node"/>
        <dgm:choose name="Name77">
          <dgm:if name="Name78" func="var" arg="dir" op="equ" val="norm">
            <dgm:constrLst>
              <dgm:constr type="tMarg" refType="primFontSz" fact="0.1"/>
              <dgm:constr type="bMarg" refType="primFontSz" fact="0.1"/>
              <dgm:constr type="rMarg" refType="primFontSz" fact="0.1"/>
            </dgm:constrLst>
          </dgm:if>
          <dgm:else name="Name79">
            <dgm:constrLst>
              <dgm:constr type="tMarg" refType="primFontSz" fact="0.1"/>
              <dgm:constr type="bMarg" refType="primFontSz" fact="0.1"/>
              <dgm:constr type="lMarg" refType="primFontSz" fact="0.1"/>
            </dgm:constrLst>
          </dgm:else>
        </dgm:choose>
        <dgm:ruleLst>
          <dgm:rule type="primFontSz" val="5" fact="NaN" max="NaN"/>
        </dgm:ruleLst>
      </dgm:layoutNode>
      <dgm:layoutNode name="line4" styleLbl="callout">
        <dgm:alg type="sp"/>
        <dgm:shape xmlns:r="http://schemas.openxmlformats.org/officeDocument/2006/relationships" type="line" r:blip="">
          <dgm:adjLst/>
        </dgm:shape>
        <dgm:presOf/>
        <dgm:constrLst/>
        <dgm:ruleLst/>
      </dgm:layoutNode>
      <dgm:layoutNode name="d4" styleLbl="callout">
        <dgm:alg type="sp"/>
        <dgm:choose name="Name80">
          <dgm:if name="Name81" func="var" arg="dir" op="equ" val="norm">
            <dgm:shape xmlns:r="http://schemas.openxmlformats.org/officeDocument/2006/relationships" rot="90" type="line" r:blip="">
              <dgm:adjLst/>
            </dgm:shape>
          </dgm:if>
          <dgm:else name="Name82">
            <dgm:shape xmlns:r="http://schemas.openxmlformats.org/officeDocument/2006/relationships" rot="180" type="line" r:blip="">
              <dgm:adjLst/>
            </dgm:shape>
          </dgm:else>
        </dgm:choose>
        <dgm:presOf/>
        <dgm:constrLst/>
        <dgm:ruleLst/>
      </dgm:layoutNode>
    </dgm:forEach>
    <dgm:forEach name="Name83" axis="ch" ptType="node" st="5" cnt="1">
      <dgm:layoutNode name="circle5" styleLbl="lnNode1">
        <dgm:alg type="sp"/>
        <dgm:shape xmlns:r="http://schemas.openxmlformats.org/officeDocument/2006/relationships" type="ellipse" r:blip="" zOrderOff="-20">
          <dgm:adjLst/>
        </dgm:shape>
        <dgm:presOf/>
        <dgm:constrLst/>
        <dgm:ruleLst/>
      </dgm:layoutNode>
      <dgm:layoutNode name="text5" styleLbl="revTx">
        <dgm:varLst>
          <dgm:bulletEnabled val="1"/>
        </dgm:varLst>
        <dgm:choose name="Name84">
          <dgm:if name="Name85" func="var" arg="dir" op="equ" val="norm">
            <dgm:choose name="Name86">
              <dgm:if name="Name87" axis="root des" ptType="all node" func="maxDepth" op="gt" val="1">
                <dgm:alg type="tx">
                  <dgm:param type="parTxLTRAlign" val="l"/>
                  <dgm:param type="parTxRTLAlign" val="r"/>
                </dgm:alg>
              </dgm:if>
              <dgm:else name="Name88">
                <dgm:alg type="tx">
                  <dgm:param type="parTxLTRAlign" val="l"/>
                  <dgm:param type="parTxRTLAlign" val="l"/>
                </dgm:alg>
              </dgm:else>
            </dgm:choose>
          </dgm:if>
          <dgm:else name="Name89">
            <dgm:choose name="Name90">
              <dgm:if name="Name91" axis="root des" ptType="all node" func="maxDepth" op="gt" val="1">
                <dgm:alg type="tx">
                  <dgm:param type="parTxLTRAlign" val="l"/>
                  <dgm:param type="parTxRTLAlign" val="r"/>
                </dgm:alg>
              </dgm:if>
              <dgm:else name="Name92">
                <dgm:alg type="tx">
                  <dgm:param type="parTxLTRAlign" val="r"/>
                  <dgm:param type="parTxRTLAlign" val="r"/>
                </dgm:alg>
              </dgm:else>
            </dgm:choose>
          </dgm:else>
        </dgm:choose>
        <dgm:shape xmlns:r="http://schemas.openxmlformats.org/officeDocument/2006/relationships" type="rect" r:blip="">
          <dgm:adjLst/>
        </dgm:shape>
        <dgm:presOf axis="desOrSelf" ptType="node"/>
        <dgm:choose name="Name93">
          <dgm:if name="Name94" func="var" arg="dir" op="equ" val="norm">
            <dgm:constrLst>
              <dgm:constr type="tMarg" refType="primFontSz" fact="0.1"/>
              <dgm:constr type="bMarg" refType="primFontSz" fact="0.1"/>
              <dgm:constr type="rMarg" refType="primFontSz" fact="0.1"/>
            </dgm:constrLst>
          </dgm:if>
          <dgm:else name="Name95">
            <dgm:constrLst>
              <dgm:constr type="tMarg" refType="primFontSz" fact="0.1"/>
              <dgm:constr type="bMarg" refType="primFontSz" fact="0.1"/>
              <dgm:constr type="lMarg" refType="primFontSz" fact="0.1"/>
            </dgm:constrLst>
          </dgm:else>
        </dgm:choose>
        <dgm:ruleLst>
          <dgm:rule type="primFontSz" val="5" fact="NaN" max="NaN"/>
        </dgm:ruleLst>
      </dgm:layoutNode>
      <dgm:layoutNode name="line5" styleLbl="callout">
        <dgm:alg type="sp"/>
        <dgm:shape xmlns:r="http://schemas.openxmlformats.org/officeDocument/2006/relationships" type="line" r:blip="">
          <dgm:adjLst/>
        </dgm:shape>
        <dgm:presOf/>
        <dgm:constrLst/>
        <dgm:ruleLst/>
      </dgm:layoutNode>
      <dgm:layoutNode name="d5" styleLbl="callout">
        <dgm:alg type="sp"/>
        <dgm:choose name="Name96">
          <dgm:if name="Name97" func="var" arg="dir" op="equ" val="norm">
            <dgm:shape xmlns:r="http://schemas.openxmlformats.org/officeDocument/2006/relationships" rot="90" type="line" r:blip="">
              <dgm:adjLst/>
            </dgm:shape>
          </dgm:if>
          <dgm:else name="Name98">
            <dgm:shape xmlns:r="http://schemas.openxmlformats.org/officeDocument/2006/relationships" rot="180" type="line" r:blip="">
              <dgm:adjLst/>
            </dgm:shape>
          </dgm:else>
        </dgm:choose>
        <dgm:presOf/>
        <dgm:constrLst/>
        <dgm:ruleLst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0CBB1AE-B262-4787-8C52-A05D0CE6049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3FD16A-3B73-4A4E-801F-F604E6F8DCE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35DD0C3-4885-4BAA-9AA1-C9918694A47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D4A009-C602-41F4-8272-F25F5B05B5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39229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051F8B-E38A-4262-93D6-EEE8CE2CF8CB}" type="datetimeFigureOut">
              <a:rPr lang="en-US" smtClean="0"/>
              <a:t>4/26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72985F-36CD-4D87-8C89-674A558E80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42915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3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63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395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526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657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789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92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05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6.svg"/><Relationship Id="rId9" Type="http://schemas.openxmlformats.org/officeDocument/2006/relationships/image" Target="../media/image11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6.svg"/><Relationship Id="rId7" Type="http://schemas.openxmlformats.org/officeDocument/2006/relationships/image" Target="../media/image8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png"/><Relationship Id="rId5" Type="http://schemas.openxmlformats.org/officeDocument/2006/relationships/image" Target="../media/image13.svg"/><Relationship Id="rId4" Type="http://schemas.openxmlformats.org/officeDocument/2006/relationships/image" Target="../media/image12.png"/><Relationship Id="rId9" Type="http://schemas.openxmlformats.org/officeDocument/2006/relationships/image" Target="../media/image11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10" Type="http://schemas.openxmlformats.org/officeDocument/2006/relationships/image" Target="../media/image11.svg"/><Relationship Id="rId4" Type="http://schemas.openxmlformats.org/officeDocument/2006/relationships/image" Target="../media/image6.svg"/><Relationship Id="rId9" Type="http://schemas.openxmlformats.org/officeDocument/2006/relationships/image" Target="../media/image10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6.svg"/><Relationship Id="rId7" Type="http://schemas.openxmlformats.org/officeDocument/2006/relationships/image" Target="../media/image8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png"/><Relationship Id="rId5" Type="http://schemas.openxmlformats.org/officeDocument/2006/relationships/image" Target="../media/image13.svg"/><Relationship Id="rId4" Type="http://schemas.openxmlformats.org/officeDocument/2006/relationships/image" Target="../media/image12.png"/><Relationship Id="rId9" Type="http://schemas.openxmlformats.org/officeDocument/2006/relationships/image" Target="../media/image11.sv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6.svg"/><Relationship Id="rId7" Type="http://schemas.openxmlformats.org/officeDocument/2006/relationships/image" Target="../media/image8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png"/><Relationship Id="rId5" Type="http://schemas.openxmlformats.org/officeDocument/2006/relationships/image" Target="../media/image13.svg"/><Relationship Id="rId4" Type="http://schemas.openxmlformats.org/officeDocument/2006/relationships/image" Target="../media/image12.png"/><Relationship Id="rId9" Type="http://schemas.openxmlformats.org/officeDocument/2006/relationships/image" Target="../media/image11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17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16.png"/><Relationship Id="rId5" Type="http://schemas.openxmlformats.org/officeDocument/2006/relationships/image" Target="../media/image15.jp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17.svg"/><Relationship Id="rId5" Type="http://schemas.openxmlformats.org/officeDocument/2006/relationships/image" Target="../media/image16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7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halv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E962FF3-951D-4441-9C7D-501471E5888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7AED3548-5867-47BB-8575-A83E0A9CE3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6112" y="381854"/>
            <a:ext cx="5619582" cy="1116919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C827CE2-8409-4B09-A9E5-74716A2BA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73782A73-0164-4D2C-BAD5-DF53C4F800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0C9865C8-230B-42BE-8B05-ECBF9A085E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6371C43A-1652-4674-9385-53CBD32109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8" name="Date Placeholder 3">
            <a:extLst>
              <a:ext uri="{FF2B5EF4-FFF2-40B4-BE49-F238E27FC236}">
                <a16:creationId xmlns:a16="http://schemas.microsoft.com/office/drawing/2014/main" id="{A1654625-2F9D-43A8-9B19-A1501B2C4B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1" name="Text Placeholder 4" descr="UiO segl">
            <a:extLst>
              <a:ext uri="{FF2B5EF4-FFF2-40B4-BE49-F238E27FC236}">
                <a16:creationId xmlns:a16="http://schemas.microsoft.com/office/drawing/2014/main" id="{D397E638-588F-47C4-8318-DB30D79BCF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B34046E2-E0A0-4315-9411-04EBA19D54D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EB9E8B29-78FF-422D-B648-7D4F0D40308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918F58FB-9B03-413E-989C-AE087C74A79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16BC30A-E2A3-4BB3-8175-D14FBA97BB4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189797EA-4203-48ED-9B9C-9481B1311A5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D3C84601-A4D0-4B48-876F-9DC17367A2A1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2" name="logo_hvit" descr="UiO Segl" hidden="1">
            <a:extLst>
              <a:ext uri="{FF2B5EF4-FFF2-40B4-BE49-F238E27FC236}">
                <a16:creationId xmlns:a16="http://schemas.microsoft.com/office/drawing/2014/main" id="{9312E79A-63CD-41D4-8EA6-B9BD7EBEEAD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3" name="logo_sort" descr="UiO Segl" hidden="1">
            <a:extLst>
              <a:ext uri="{FF2B5EF4-FFF2-40B4-BE49-F238E27FC236}">
                <a16:creationId xmlns:a16="http://schemas.microsoft.com/office/drawing/2014/main" id="{CCD2A0AF-6987-472B-AB0A-FE4E51B298B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4" name="addin_colorlist" hidden="1">
            <a:extLst>
              <a:ext uri="{FF2B5EF4-FFF2-40B4-BE49-F238E27FC236}">
                <a16:creationId xmlns:a16="http://schemas.microsoft.com/office/drawing/2014/main" id="{FD548E61-D022-4178-8722-46839AB856D2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333ACA-8377-46D1-9D90-73F9F4A0D07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9038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54692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542A6449-D96E-414F-A604-C4E12FC569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E20FF9-F861-400C-878F-01B6648601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D729F8AC-6A5E-427F-BADE-EA072C6164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548DDD7D-1EE4-480A-9DFC-6999E44EAA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94EC4BF0-912D-4C74-897D-7058B1C43F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4387C63E-1139-41C5-A5DA-C793443018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6E45B275-2917-4791-9D93-B119E57F1E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3677782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B080593B-46D5-4272-829F-0AB9BB0A7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9880" y="0"/>
            <a:ext cx="598212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AA9DF7D4-90D1-427E-86F5-96B8E6DDF5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05359BE4-B9E6-44C9-994B-4B43BA3185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9038" y="653143"/>
            <a:ext cx="5075367" cy="1204686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dirty="0"/>
              <a:t>Navn på institutt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8A0E4F-1BA9-45F5-9553-E579F5F1C2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9039" y="2302849"/>
            <a:ext cx="5080128" cy="1702414"/>
          </a:xfrm>
        </p:spPr>
        <p:txBody>
          <a:bodyPr/>
          <a:lstStyle>
            <a:lvl1pPr marL="0" indent="0">
              <a:buNone/>
              <a:defRPr sz="45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8EA911F-B545-4F74-AF42-9EC2B355D8F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4E55111D-AB70-4D2B-9C10-0B91F296CD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1DB45DBF-1D97-4017-83BE-AD48141222A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88916788-1A25-4BF7-B2F3-11CED5D74C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27D749C7-8972-4648-8357-FE945BD112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5046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537975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F5D4F5D-6A45-4660-B498-EC62A1753C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02667" y="1768008"/>
            <a:ext cx="5863168" cy="435133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4pPr>
          </a:lstStyle>
          <a:p>
            <a:pPr lvl="0"/>
            <a:r>
              <a:rPr lang="nb-NO" dirty="0"/>
              <a:t>Punkt A</a:t>
            </a:r>
          </a:p>
          <a:p>
            <a:pPr lvl="0"/>
            <a:r>
              <a:rPr lang="nb-NO" dirty="0"/>
              <a:t>Punkt B</a:t>
            </a:r>
          </a:p>
          <a:p>
            <a:pPr lvl="0"/>
            <a:r>
              <a:rPr lang="nb-NO" dirty="0"/>
              <a:t>Punkt C</a:t>
            </a:r>
          </a:p>
          <a:p>
            <a:pPr lvl="0"/>
            <a:r>
              <a:rPr lang="nb-NO" dirty="0"/>
              <a:t>Punkt D</a:t>
            </a:r>
            <a:endParaRPr lang="en-US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9CB4958-81B1-49B9-BBDA-D042DC89C1F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0565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E40B9F-ECB7-4387-A58C-0A496B930A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36716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A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6E426CF-9990-43F5-BE14-226088D8A7B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13844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B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679225E-A5E2-4DC8-9837-7BCA23C8E4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36715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C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833A43-18E3-4392-918C-09F8E26D369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413844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D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23B8277-88D5-4007-B32D-B587FB6C14E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36714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E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366E2B9-433F-4D84-9677-520FBB3E32B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3845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F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02B12D4E-956E-456A-B250-54F8DAC4F51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262674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DBCC00A-19CF-41BF-8147-46CE1C6A77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 dirty="0"/>
              <a:t>Trykk - &gt; Sett inn -&gt; Bilde for å endre eller sette inn bilde</a:t>
            </a:r>
            <a:endParaRPr lang="en-US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545301A6-9B63-4AF8-9A67-C362499DE5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144304"/>
            <a:ext cx="9144000" cy="1655762"/>
          </a:xfrm>
        </p:spPr>
        <p:txBody>
          <a:bodyPr wrap="none" bIns="0" anchor="b"/>
          <a:lstStyle>
            <a:lvl1pPr marL="0" indent="0" algn="ctr">
              <a:buNone/>
              <a:defRPr sz="1750"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nb-NO" noProof="0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7DF5643-8F24-4F16-9356-F129900A4A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3151019"/>
            <a:ext cx="9144000" cy="1878763"/>
          </a:xfrm>
        </p:spPr>
        <p:txBody>
          <a:bodyPr wrap="none" anchor="t"/>
          <a:lstStyle>
            <a:lvl1pPr algn="ctr">
              <a:defRPr sz="4501">
                <a:highlight>
                  <a:srgbClr val="FFFFFF"/>
                </a:highlight>
              </a:defRPr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8" name="Text Placeholder 4" descr="Logo Universitetet i oslo">
            <a:extLst>
              <a:ext uri="{FF2B5EF4-FFF2-40B4-BE49-F238E27FC236}">
                <a16:creationId xmlns:a16="http://schemas.microsoft.com/office/drawing/2014/main" id="{CB6C8A24-C7F7-483C-B347-EFA80560FB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0DAEC6C7-85EA-449B-8EE8-2D97BF53ED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283FD976-C7D4-4015-A9BA-91E02E673E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F6C04A44-E476-4A49-B738-EE2D47D4BAD9}"/>
              </a:ext>
            </a:extLst>
          </p:cNvPr>
          <p:cNvSpPr/>
          <p:nvPr userDrawn="1"/>
        </p:nvSpPr>
        <p:spPr>
          <a:xfrm>
            <a:off x="0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d1, sid2, sid3, sid4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27C08BAF-0936-474D-B97E-5B57BFE4B3DC}"/>
              </a:ext>
            </a:extLst>
          </p:cNvPr>
          <p:cNvSpPr/>
          <p:nvPr userDrawn="1"/>
        </p:nvSpPr>
        <p:spPr>
          <a:xfrm>
            <a:off x="4973338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1" name="addin_title" hidden="1">
            <a:extLst>
              <a:ext uri="{FF2B5EF4-FFF2-40B4-BE49-F238E27FC236}">
                <a16:creationId xmlns:a16="http://schemas.microsoft.com/office/drawing/2014/main" id="{CD588095-EB6E-4EE9-A470-1FC6B276AA84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2" name="addin_text" hidden="1">
            <a:extLst>
              <a:ext uri="{FF2B5EF4-FFF2-40B4-BE49-F238E27FC236}">
                <a16:creationId xmlns:a16="http://schemas.microsoft.com/office/drawing/2014/main" id="{01792D08-5194-467E-A9CB-E87CD6F0CF3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4" name="addin_image" hidden="1">
            <a:extLst>
              <a:ext uri="{FF2B5EF4-FFF2-40B4-BE49-F238E27FC236}">
                <a16:creationId xmlns:a16="http://schemas.microsoft.com/office/drawing/2014/main" id="{7E0FF7D7-FC31-4FA1-B98D-9F5E73E0ED06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D73E79DB-AFAF-477A-B39A-3600CE59C83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6" name="addin_logo" hidden="1">
            <a:extLst>
              <a:ext uri="{FF2B5EF4-FFF2-40B4-BE49-F238E27FC236}">
                <a16:creationId xmlns:a16="http://schemas.microsoft.com/office/drawing/2014/main" id="{6D0ECAE0-D83D-477F-8858-4811F35FC31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3586852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 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10FAE04-E853-4650-A24D-5F754E1D5AE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6"/>
          </a:solidFill>
        </p:spPr>
        <p:txBody>
          <a:bodyPr lIns="0" tIns="0" rIns="0" bIns="0"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pPr marL="125438" marR="0" lvl="0" indent="-125438" algn="l" defTabSz="914446" rtl="0" eaLnBrk="1" fontAlgn="auto" latinLnBrk="0" hangingPunct="1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dirty="0"/>
              <a:t>Trykk - &gt; Sett inn -&gt; Bilde for å endre eller sette inn bilde</a:t>
            </a:r>
            <a:endParaRPr lang="en-US" dirty="0"/>
          </a:p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057638"/>
            <a:ext cx="9144000" cy="2733991"/>
          </a:xfrm>
        </p:spPr>
        <p:txBody>
          <a:bodyPr anchor="ctr"/>
          <a:lstStyle>
            <a:lvl1pPr algn="ctr">
              <a:lnSpc>
                <a:spcPct val="100000"/>
              </a:lnSpc>
              <a:defRPr sz="4501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r>
              <a:rPr lang="nb-NO" noProof="0" dirty="0"/>
              <a:t>Sitat</a:t>
            </a:r>
          </a:p>
        </p:txBody>
      </p:sp>
      <p:sp>
        <p:nvSpPr>
          <p:cNvPr id="11" name="Text Placeholder 4" descr="Logo Universitetet i oslo">
            <a:extLst>
              <a:ext uri="{FF2B5EF4-FFF2-40B4-BE49-F238E27FC236}">
                <a16:creationId xmlns:a16="http://schemas.microsoft.com/office/drawing/2014/main" id="{85E9E616-9857-4793-9543-97601CFB29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3688BA85-E873-4370-B3DC-1DB3D680532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5" name="addin_colorbox" hidden="1">
            <a:extLst>
              <a:ext uri="{FF2B5EF4-FFF2-40B4-BE49-F238E27FC236}">
                <a16:creationId xmlns:a16="http://schemas.microsoft.com/office/drawing/2014/main" id="{01750E1E-149D-4737-BB50-E180FD96210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6" name="addin_title" hidden="1">
            <a:extLst>
              <a:ext uri="{FF2B5EF4-FFF2-40B4-BE49-F238E27FC236}">
                <a16:creationId xmlns:a16="http://schemas.microsoft.com/office/drawing/2014/main" id="{8A95C1E6-41C2-4B63-A678-1197B885A271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7" name="addin_text" hidden="1">
            <a:extLst>
              <a:ext uri="{FF2B5EF4-FFF2-40B4-BE49-F238E27FC236}">
                <a16:creationId xmlns:a16="http://schemas.microsoft.com/office/drawing/2014/main" id="{88900728-1D9A-4CFE-BD46-77F03BBF68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8" name="addin_image" hidden="1">
            <a:extLst>
              <a:ext uri="{FF2B5EF4-FFF2-40B4-BE49-F238E27FC236}">
                <a16:creationId xmlns:a16="http://schemas.microsoft.com/office/drawing/2014/main" id="{71F63DE9-1A9D-416E-8BF1-5DDBAC2C366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9" name="addin_grouplist" hidden="1">
            <a:extLst>
              <a:ext uri="{FF2B5EF4-FFF2-40B4-BE49-F238E27FC236}">
                <a16:creationId xmlns:a16="http://schemas.microsoft.com/office/drawing/2014/main" id="{55453450-7C5E-47ED-8FB9-95BB5C190194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0" name="addin_background" hidden="1">
            <a:extLst>
              <a:ext uri="{FF2B5EF4-FFF2-40B4-BE49-F238E27FC236}">
                <a16:creationId xmlns:a16="http://schemas.microsoft.com/office/drawing/2014/main" id="{19DE1B7D-2015-4D3D-81DA-BE1C0B884B8C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2DACBF1F-1831-46CB-8E94-DAC5CC4C8A53}"/>
              </a:ext>
            </a:extLst>
          </p:cNvPr>
          <p:cNvSpPr/>
          <p:nvPr userDrawn="1"/>
        </p:nvSpPr>
        <p:spPr>
          <a:xfrm>
            <a:off x="2583335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08780C0B-BBD9-4BF7-B461-4D609C762B61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3E5FC6D0-29E6-4763-9016-B07C6C2F674E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E5048523-44FB-402D-AF9A-189895D758AB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4EBCC3D3-FB5E-4C44-BD2A-4765289129B6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A21182DD-62B1-48E3-8A1E-30E0E49F858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DA65AA7C-2435-43EC-9E54-A952934DE561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3314716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tekstboks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387AD4FF-2A17-41D2-9989-72E3EE53EDB7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4" y="1757498"/>
            <a:ext cx="11471910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2207EF-1A49-4BEC-B35C-772E1E2EFECD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134CF4-4951-4824-A36D-2B6BAEF472C0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E7BD1C-79CF-4E20-AC8F-E2817B8B3D12}"/>
              </a:ext>
            </a:extLst>
          </p:cNvPr>
          <p:cNvSpPr/>
          <p:nvPr userDrawn="1"/>
        </p:nvSpPr>
        <p:spPr>
          <a:xfrm>
            <a:off x="540068" y="0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D8EE3EE-092D-4B85-A85F-E434A4CB9A2F}"/>
              </a:ext>
            </a:extLst>
          </p:cNvPr>
          <p:cNvSpPr/>
          <p:nvPr userDrawn="1"/>
        </p:nvSpPr>
        <p:spPr>
          <a:xfrm>
            <a:off x="0" y="337731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33BC282A-3B9D-407C-B9DA-F5A304A0AE2D}"/>
              </a:ext>
            </a:extLst>
          </p:cNvPr>
          <p:cNvSpPr/>
          <p:nvPr userDrawn="1"/>
        </p:nvSpPr>
        <p:spPr>
          <a:xfrm>
            <a:off x="11831955" y="482939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7DC556F4-6EA1-44E3-8D60-1261088C71C7}"/>
              </a:ext>
            </a:extLst>
          </p:cNvPr>
          <p:cNvSpPr/>
          <p:nvPr userDrawn="1"/>
        </p:nvSpPr>
        <p:spPr>
          <a:xfrm>
            <a:off x="1" y="902703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74E62C8F-7CC6-4F3A-88DB-ADB3F3D757CE}"/>
              </a:ext>
            </a:extLst>
          </p:cNvPr>
          <p:cNvSpPr/>
          <p:nvPr userDrawn="1"/>
        </p:nvSpPr>
        <p:spPr>
          <a:xfrm>
            <a:off x="1" y="1577475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FACBECEF-96F4-495B-97F3-507EB7C28F66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114C26A2-23E4-405F-85D9-DD9C9C54205E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5" name="addin_title" hidden="1">
            <a:extLst>
              <a:ext uri="{FF2B5EF4-FFF2-40B4-BE49-F238E27FC236}">
                <a16:creationId xmlns:a16="http://schemas.microsoft.com/office/drawing/2014/main" id="{5EC6F0C5-ECE2-4737-B2DF-8CF464166E2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421DB65A-BA84-4BFC-81D8-7771342E61A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40EF0D78-486F-42E9-A20F-95C640555A5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DA2EA4FB-50DF-4085-A18C-D17518B88B8F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2409EBBA-4570-4718-9302-6A3DA50E3B8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3996591B-A5CC-4B02-887B-B726000BC3C6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background" hidden="1">
            <a:extLst>
              <a:ext uri="{FF2B5EF4-FFF2-40B4-BE49-F238E27FC236}">
                <a16:creationId xmlns:a16="http://schemas.microsoft.com/office/drawing/2014/main" id="{C04B5D41-8647-414B-A9F9-26967E7A232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8291441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tekstbokser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E8C4F134-43A3-438E-88E2-D8FF0EDE7A13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5" y="1757498"/>
            <a:ext cx="5489213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4003BB-F04C-4A8B-BC54-5FDD5D30356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42741" y="1076623"/>
            <a:ext cx="5489213" cy="494749"/>
          </a:xfrm>
        </p:spPr>
        <p:txBody>
          <a:bodyPr/>
          <a:lstStyle>
            <a:lvl1pPr marL="0" indent="0"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A0524D80-7434-47CB-8898-52900F44078A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6342741" y="1757498"/>
            <a:ext cx="5489213" cy="4301395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7AAA207-8E55-477B-AF05-92D6F597A5B7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A7972B2-D533-401B-8556-469D52E0F4DD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9602F61A-9452-4566-BD44-010DF2575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3374CAD7-B62E-4CF1-AD5A-43232DD10E2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5" y="1082726"/>
            <a:ext cx="5489213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1F56F7F2-0BBD-484C-9008-B8C0CB7D240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3" name="addin_title" hidden="1">
            <a:extLst>
              <a:ext uri="{FF2B5EF4-FFF2-40B4-BE49-F238E27FC236}">
                <a16:creationId xmlns:a16="http://schemas.microsoft.com/office/drawing/2014/main" id="{BE45413D-3777-488C-9081-98CD311209B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4" name="addin_text" hidden="1">
            <a:extLst>
              <a:ext uri="{FF2B5EF4-FFF2-40B4-BE49-F238E27FC236}">
                <a16:creationId xmlns:a16="http://schemas.microsoft.com/office/drawing/2014/main" id="{4BD0960F-BF1F-4126-A3F8-B418D42FDE7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5" name="addin_image" hidden="1">
            <a:extLst>
              <a:ext uri="{FF2B5EF4-FFF2-40B4-BE49-F238E27FC236}">
                <a16:creationId xmlns:a16="http://schemas.microsoft.com/office/drawing/2014/main" id="{C39DDD84-E44A-46C8-A71C-34C426FB8C92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6" name="addin_grouplist" hidden="1">
            <a:extLst>
              <a:ext uri="{FF2B5EF4-FFF2-40B4-BE49-F238E27FC236}">
                <a16:creationId xmlns:a16="http://schemas.microsoft.com/office/drawing/2014/main" id="{AEDE561B-E28A-4695-BEA3-2B6278A31E9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2AAC8E8D-4887-45BD-9C03-DA53C4A7934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8" name="addin_fillplaceholders" hidden="1">
            <a:extLst>
              <a:ext uri="{FF2B5EF4-FFF2-40B4-BE49-F238E27FC236}">
                <a16:creationId xmlns:a16="http://schemas.microsoft.com/office/drawing/2014/main" id="{CBAE5DC2-094D-4983-A93E-68A430FDFDA5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9" name="addin_colorlist" hidden="1">
            <a:extLst>
              <a:ext uri="{FF2B5EF4-FFF2-40B4-BE49-F238E27FC236}">
                <a16:creationId xmlns:a16="http://schemas.microsoft.com/office/drawing/2014/main" id="{9821EDDB-6D76-4A0C-A80A-8E839D9FFA7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0" name="addin_background" hidden="1">
            <a:extLst>
              <a:ext uri="{FF2B5EF4-FFF2-40B4-BE49-F238E27FC236}">
                <a16:creationId xmlns:a16="http://schemas.microsoft.com/office/drawing/2014/main" id="{F537A33B-63F9-4866-8A22-F1702265B04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1200161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79219" y="360045"/>
            <a:ext cx="4152735" cy="5325998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1192628-F328-404D-8EFE-7A0B924C21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79218" y="5870278"/>
            <a:ext cx="4152735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9125386-EE30-45FB-BA78-8A032E308E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3E75BE49-6169-4B52-B8E0-67F87720CC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5489214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F549456-9E1A-4F2D-AB8B-11B375FF1CCA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548921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2305472-2CA1-4284-9F6B-FAE83898D055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360044" y="1757499"/>
            <a:ext cx="5489214" cy="430110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FFC296E0-39D4-4AF3-8EEB-7A54677345E2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89F5F7C1-30CB-486A-A1AB-777F98EC9EB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146F2B9F-A380-47D0-81A1-BF6A05CCD5A3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B18746CE-F568-4AB2-858E-6BA5E8D117B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A968A5A2-9154-4A90-8322-5433B94336E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B3EE9CD2-1CBB-48EF-8EDE-E560A4F427D0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69CC9A44-6E07-4DB9-A3DF-6C14488300B1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colorlist" hidden="1">
            <a:extLst>
              <a:ext uri="{FF2B5EF4-FFF2-40B4-BE49-F238E27FC236}">
                <a16:creationId xmlns:a16="http://schemas.microsoft.com/office/drawing/2014/main" id="{216821DD-975F-4F3D-9D04-19B2277FA237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3" name="addin_background" hidden="1">
            <a:extLst>
              <a:ext uri="{FF2B5EF4-FFF2-40B4-BE49-F238E27FC236}">
                <a16:creationId xmlns:a16="http://schemas.microsoft.com/office/drawing/2014/main" id="{982A5CB8-CD5B-4CA2-8CE7-B095D5C741A5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9499861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44269EB-52A0-4947-98BF-6FDC43498788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4" y="1082726"/>
            <a:ext cx="11471910" cy="4817312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Tx/>
              <a:buNone/>
              <a:defRPr sz="1500" b="0" i="0" u="none" cap="none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677B9B8B-41DA-40B7-A3EE-81571DB48A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A672648-934A-4F12-93E6-1D228EB528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9" name="addin_colorbox" hidden="1">
            <a:extLst>
              <a:ext uri="{FF2B5EF4-FFF2-40B4-BE49-F238E27FC236}">
                <a16:creationId xmlns:a16="http://schemas.microsoft.com/office/drawing/2014/main" id="{03278B68-CC85-45D7-BC07-7A767805E25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0" name="addin_title" hidden="1">
            <a:extLst>
              <a:ext uri="{FF2B5EF4-FFF2-40B4-BE49-F238E27FC236}">
                <a16:creationId xmlns:a16="http://schemas.microsoft.com/office/drawing/2014/main" id="{8FCE75F0-EE57-496E-8BA4-489EBB8E5AF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1" name="addin_text" hidden="1">
            <a:extLst>
              <a:ext uri="{FF2B5EF4-FFF2-40B4-BE49-F238E27FC236}">
                <a16:creationId xmlns:a16="http://schemas.microsoft.com/office/drawing/2014/main" id="{269FBB4E-8C52-436E-BA48-6940B6731E12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2" name="addin_image" hidden="1">
            <a:extLst>
              <a:ext uri="{FF2B5EF4-FFF2-40B4-BE49-F238E27FC236}">
                <a16:creationId xmlns:a16="http://schemas.microsoft.com/office/drawing/2014/main" id="{42EA8043-85A0-4D8F-8348-BA355A7B5FF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3" name="addin_grouplist" hidden="1">
            <a:extLst>
              <a:ext uri="{FF2B5EF4-FFF2-40B4-BE49-F238E27FC236}">
                <a16:creationId xmlns:a16="http://schemas.microsoft.com/office/drawing/2014/main" id="{E563CD6A-A576-44D3-8CC3-9114D591672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4" name="addin_logo" hidden="1">
            <a:extLst>
              <a:ext uri="{FF2B5EF4-FFF2-40B4-BE49-F238E27FC236}">
                <a16:creationId xmlns:a16="http://schemas.microsoft.com/office/drawing/2014/main" id="{9CF18725-D8DB-4F08-9D16-41237AACFD4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6" name="addin_fillplaceholders" hidden="1">
            <a:extLst>
              <a:ext uri="{FF2B5EF4-FFF2-40B4-BE49-F238E27FC236}">
                <a16:creationId xmlns:a16="http://schemas.microsoft.com/office/drawing/2014/main" id="{991EC08D-EFD8-4694-9D89-D08AFA1A309F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7" name="addin_colorlist" hidden="1">
            <a:extLst>
              <a:ext uri="{FF2B5EF4-FFF2-40B4-BE49-F238E27FC236}">
                <a16:creationId xmlns:a16="http://schemas.microsoft.com/office/drawing/2014/main" id="{FD0BFB97-1416-4EB5-9378-C644C455BF7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1EE69F7B-96E4-4D08-8544-715743B31CD2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5867015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halv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80CF6147-1B60-436B-ABD0-E426D3DDF3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0" name="Text Placeholder 6" descr="Logo Universitetet i oslo">
            <a:extLst>
              <a:ext uri="{FF2B5EF4-FFF2-40B4-BE49-F238E27FC236}">
                <a16:creationId xmlns:a16="http://schemas.microsoft.com/office/drawing/2014/main" id="{36E824D8-5207-4DF5-BD9E-C1307AD980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502EFC6A-E5AE-4CDD-893A-8151185CCF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8E5FEA3-8D79-4D56-9664-2703F65E1E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74BFEE26-19F8-420D-B230-46123EBE4C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F7CD78E4-773D-43A0-AF45-F06FF64BD1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5" name="Text Placeholder 4" descr="UiO segl">
            <a:extLst>
              <a:ext uri="{FF2B5EF4-FFF2-40B4-BE49-F238E27FC236}">
                <a16:creationId xmlns:a16="http://schemas.microsoft.com/office/drawing/2014/main" id="{F9A19FD8-51AB-4838-9B3F-0C4ED0CDF7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addin_colorlist" hidden="1">
            <a:extLst>
              <a:ext uri="{FF2B5EF4-FFF2-40B4-BE49-F238E27FC236}">
                <a16:creationId xmlns:a16="http://schemas.microsoft.com/office/drawing/2014/main" id="{9C89DC5C-C295-4993-8094-F0B8D6618A6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7" name="addin_colorbox" hidden="1">
            <a:extLst>
              <a:ext uri="{FF2B5EF4-FFF2-40B4-BE49-F238E27FC236}">
                <a16:creationId xmlns:a16="http://schemas.microsoft.com/office/drawing/2014/main" id="{2CC73354-08EE-44A2-AB48-A462E1508E4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8" name="addin_title" hidden="1">
            <a:extLst>
              <a:ext uri="{FF2B5EF4-FFF2-40B4-BE49-F238E27FC236}">
                <a16:creationId xmlns:a16="http://schemas.microsoft.com/office/drawing/2014/main" id="{26C6DF9C-269B-4A64-898A-65E2DB4E195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9" name="addin_text" hidden="1">
            <a:extLst>
              <a:ext uri="{FF2B5EF4-FFF2-40B4-BE49-F238E27FC236}">
                <a16:creationId xmlns:a16="http://schemas.microsoft.com/office/drawing/2014/main" id="{DEF32610-8099-45EC-A831-EA132BB98DEB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0" name="addin_image" hidden="1">
            <a:extLst>
              <a:ext uri="{FF2B5EF4-FFF2-40B4-BE49-F238E27FC236}">
                <a16:creationId xmlns:a16="http://schemas.microsoft.com/office/drawing/2014/main" id="{FCBF301A-51A4-47F6-A13E-EA0C05B5707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1" name="addin_grouplist" hidden="1">
            <a:extLst>
              <a:ext uri="{FF2B5EF4-FFF2-40B4-BE49-F238E27FC236}">
                <a16:creationId xmlns:a16="http://schemas.microsoft.com/office/drawing/2014/main" id="{31339D77-A008-41C5-8746-5E52634CF5F3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2" name="addin_logo" hidden="1">
            <a:extLst>
              <a:ext uri="{FF2B5EF4-FFF2-40B4-BE49-F238E27FC236}">
                <a16:creationId xmlns:a16="http://schemas.microsoft.com/office/drawing/2014/main" id="{826D203C-01F5-46E6-8CA5-6E8C2BD4380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33" name="logo_hvit" descr="UiO Segl" hidden="1">
            <a:extLst>
              <a:ext uri="{FF2B5EF4-FFF2-40B4-BE49-F238E27FC236}">
                <a16:creationId xmlns:a16="http://schemas.microsoft.com/office/drawing/2014/main" id="{D427F631-71AD-40A0-9DBF-5B89C6D6AF8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34" name="logo_sort" descr="UiO Segl" hidden="1">
            <a:extLst>
              <a:ext uri="{FF2B5EF4-FFF2-40B4-BE49-F238E27FC236}">
                <a16:creationId xmlns:a16="http://schemas.microsoft.com/office/drawing/2014/main" id="{79A0A5BE-15A5-45D3-AAD4-DA46706180E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EFBE860A-1A40-435A-88FE-0EADB0DB8F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05F523C6-A45B-4665-9FA1-E4FAB65FE5E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4237730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00098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tekstbokser med ingr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A53454CC-87E9-4EB8-A148-E8917C513AF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9B68EB7-26DD-44B0-B503-B133010AD6D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04FE8AE5-898D-4838-B222-D9178BD5489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3871769-9C00-4F59-9847-667CD9B433B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333840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734C1ED4-971E-4006-9901-E3C5A2D1AD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7F28ED8-40A8-43F5-9C35-FA0A7A4B7B0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287512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3EB74F5A-3F59-4167-9DC8-330443F355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69DB1BE3-558A-48DC-BDC0-99721DB83C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7060C8D-FB51-4745-B5BA-28C1605AFCAA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360043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CBB1FA-9857-4CD5-A348-3131F0AEB2D9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4333839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835DB0-47DB-4C8D-91B7-06E75EAC9A45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8284384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1" name="addin_colorbox" hidden="1">
            <a:extLst>
              <a:ext uri="{FF2B5EF4-FFF2-40B4-BE49-F238E27FC236}">
                <a16:creationId xmlns:a16="http://schemas.microsoft.com/office/drawing/2014/main" id="{85B29458-A561-422C-8B22-C9C8019F05A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2" name="addin_title" hidden="1">
            <a:extLst>
              <a:ext uri="{FF2B5EF4-FFF2-40B4-BE49-F238E27FC236}">
                <a16:creationId xmlns:a16="http://schemas.microsoft.com/office/drawing/2014/main" id="{6DA48910-8F44-454E-B43A-1B5C4C20B2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3" name="addin_text" hidden="1">
            <a:extLst>
              <a:ext uri="{FF2B5EF4-FFF2-40B4-BE49-F238E27FC236}">
                <a16:creationId xmlns:a16="http://schemas.microsoft.com/office/drawing/2014/main" id="{36112E3C-28E7-406C-A89C-679F16136B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4" name="addin_image" hidden="1">
            <a:extLst>
              <a:ext uri="{FF2B5EF4-FFF2-40B4-BE49-F238E27FC236}">
                <a16:creationId xmlns:a16="http://schemas.microsoft.com/office/drawing/2014/main" id="{6A60E72D-08B9-476D-AFC3-4789C7CAB3E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21C3A9AD-504F-4B89-8A17-FC25321E037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E4836D3F-D357-451D-AE6E-7EB69FA7FED5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0F33A6D9-8DA0-41B8-8049-5CD7B9C6A30E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539226-B5F3-4B78-ACC7-33FC0BA3232C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733187ED-462E-47AF-B84E-AD47047EA58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4707152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DB62B9B-DA6F-4B28-8109-CB17B37FC575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60044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D77A5E11-842C-4FB6-815C-DFB3ABB6270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4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id="{608D3BA1-A495-4A81-AEDF-108083B425F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4" y="3466045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8DBA5C73-7C13-4B90-AB3C-33800055D04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19317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A5F10688-3BD3-4100-93E4-DF84C9CFDBE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19317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3F640CBC-9652-48BE-BF08-FD238D950C8A}"/>
              </a:ext>
            </a:extLst>
          </p:cNvPr>
          <p:cNvSpPr>
            <a:spLocks noGrp="1"/>
          </p:cNvSpPr>
          <p:nvPr>
            <p:ph sz="half" idx="26"/>
          </p:nvPr>
        </p:nvSpPr>
        <p:spPr>
          <a:xfrm>
            <a:off x="4319318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A93925D5-5699-4BE0-AEE8-00634046ACBA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255658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7F0F2B16-0190-4211-A226-C7673C0595F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55658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8255659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536D8A58-B677-4BBF-8564-3532CB713F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5333E61-2FC3-40D9-82CA-9B321075AF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9" name="addin_colorbox" hidden="1">
            <a:extLst>
              <a:ext uri="{FF2B5EF4-FFF2-40B4-BE49-F238E27FC236}">
                <a16:creationId xmlns:a16="http://schemas.microsoft.com/office/drawing/2014/main" id="{8CF651E2-DD60-4E17-88DC-C480178AFF5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011245F7-98B6-4B20-8174-39F84E37606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EF2396E3-07AF-47C0-BEC4-D981BDC140A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70F848C3-1BE5-4A26-AC5E-2192AC85CDF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CCBBBF12-7B28-49C5-B8F6-E0FB7DE6EC0C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353CF5D9-1BFC-418E-90A2-3300A6EAE3EE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30BAAD75-8F68-4A50-98F1-FAB2F09878E0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18083F-C741-41DF-96D3-CC32C9FA32A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55AE3439-8B84-48C9-BD26-13BD97C0EA2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184599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tekst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Text Placeholder 21">
            <a:extLst>
              <a:ext uri="{FF2B5EF4-FFF2-40B4-BE49-F238E27FC236}">
                <a16:creationId xmlns:a16="http://schemas.microsoft.com/office/drawing/2014/main" id="{B72D2E40-18A8-4D11-A79B-F130A143E05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60043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Content Placeholder 3">
            <a:extLst>
              <a:ext uri="{FF2B5EF4-FFF2-40B4-BE49-F238E27FC236}">
                <a16:creationId xmlns:a16="http://schemas.microsoft.com/office/drawing/2014/main" id="{FBF46E5C-C7CD-4024-B778-D17BB07C10CB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3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44" name="Text Placeholder 21">
            <a:extLst>
              <a:ext uri="{FF2B5EF4-FFF2-40B4-BE49-F238E27FC236}">
                <a16:creationId xmlns:a16="http://schemas.microsoft.com/office/drawing/2014/main" id="{3E2AF5D0-334B-4117-BADC-AC9D08C21C5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303805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Content Placeholder 3">
            <a:extLst>
              <a:ext uri="{FF2B5EF4-FFF2-40B4-BE49-F238E27FC236}">
                <a16:creationId xmlns:a16="http://schemas.microsoft.com/office/drawing/2014/main" id="{542EDCC5-87FC-4341-AA76-9AE955848C54}"/>
              </a:ext>
            </a:extLst>
          </p:cNvPr>
          <p:cNvSpPr>
            <a:spLocks noGrp="1"/>
          </p:cNvSpPr>
          <p:nvPr>
            <p:ph sz="half" idx="27"/>
          </p:nvPr>
        </p:nvSpPr>
        <p:spPr>
          <a:xfrm>
            <a:off x="3303805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B6D298D6-0193-4F36-B987-5B03BFD64A7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5961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Content Placeholder 3">
            <a:extLst>
              <a:ext uri="{FF2B5EF4-FFF2-40B4-BE49-F238E27FC236}">
                <a16:creationId xmlns:a16="http://schemas.microsoft.com/office/drawing/2014/main" id="{E25FBBCD-FAB3-496C-9023-BEA9649A7EA4}"/>
              </a:ext>
            </a:extLst>
          </p:cNvPr>
          <p:cNvSpPr>
            <a:spLocks noGrp="1"/>
          </p:cNvSpPr>
          <p:nvPr>
            <p:ph sz="half" idx="25"/>
          </p:nvPr>
        </p:nvSpPr>
        <p:spPr>
          <a:xfrm>
            <a:off x="6205961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84EBD52D-9372-4482-9683-865699B9658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08118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108117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AE5EE307-16A7-4BB4-826C-FE03F2BC5A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58AF55B9-1670-44D0-B63B-7F29554D4D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91211FBE-673D-4273-A607-B348AAB51CAD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8" name="addin_colorbox" hidden="1">
            <a:extLst>
              <a:ext uri="{FF2B5EF4-FFF2-40B4-BE49-F238E27FC236}">
                <a16:creationId xmlns:a16="http://schemas.microsoft.com/office/drawing/2014/main" id="{68D8861A-56FC-49BC-BC70-59F04372E49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3435CB16-27EC-4FA8-AFCE-C153EAACC1A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0" name="addin_text" hidden="1">
            <a:extLst>
              <a:ext uri="{FF2B5EF4-FFF2-40B4-BE49-F238E27FC236}">
                <a16:creationId xmlns:a16="http://schemas.microsoft.com/office/drawing/2014/main" id="{EAA5BB91-F0F7-40F1-B570-8C015BFB6B1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1" name="addin_image" hidden="1">
            <a:extLst>
              <a:ext uri="{FF2B5EF4-FFF2-40B4-BE49-F238E27FC236}">
                <a16:creationId xmlns:a16="http://schemas.microsoft.com/office/drawing/2014/main" id="{314857CC-CD3A-4093-9A62-A81D04F2173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2" name="addin_grouplist" hidden="1">
            <a:extLst>
              <a:ext uri="{FF2B5EF4-FFF2-40B4-BE49-F238E27FC236}">
                <a16:creationId xmlns:a16="http://schemas.microsoft.com/office/drawing/2014/main" id="{CD991C7D-082B-4C2A-9D04-5C93FD4BFAF9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CDE1D328-C358-480F-B3D9-0D7F90E1FCD9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F6A83423-DC11-43BA-B76B-FDF05773D562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6A73BA5A-B3F5-4DE9-BB13-AF73702D706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9FE72A3E-01F8-412E-8E98-2BDAA4A674B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5891108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DC80BDF2-BFAE-4432-9B71-EC93BBDB264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60043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FE7522-682F-43A2-922B-D0B51A4624B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3" y="2790811"/>
            <a:ext cx="2736980" cy="318644"/>
          </a:xfrm>
        </p:spPr>
        <p:txBody>
          <a:bodyPr anchor="t"/>
          <a:lstStyle>
            <a:lvl1pPr marL="0" indent="0" algn="l">
              <a:buNone/>
              <a:defRPr sz="15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480D74DD-4A50-49DD-9306-A23A22079643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3" y="3292760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388075E-3AFC-4298-92EB-455858EE4D0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286576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5EE1A38-0897-4573-99F1-2AAFFB9267F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86576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1E44F0B-F496-4E85-AC77-361685F3DAE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286576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3D1BDEE6-8393-45A2-903D-6459074B303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192987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0" name="Text Placeholder 21">
            <a:extLst>
              <a:ext uri="{FF2B5EF4-FFF2-40B4-BE49-F238E27FC236}">
                <a16:creationId xmlns:a16="http://schemas.microsoft.com/office/drawing/2014/main" id="{2D7B525A-A39D-4409-889F-3E50319F94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92987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A3C6FFF7-1BD6-4C2E-949A-7AEAD2340CC4}"/>
              </a:ext>
            </a:extLst>
          </p:cNvPr>
          <p:cNvSpPr>
            <a:spLocks noGrp="1"/>
          </p:cNvSpPr>
          <p:nvPr>
            <p:ph sz="half" idx="28"/>
          </p:nvPr>
        </p:nvSpPr>
        <p:spPr>
          <a:xfrm>
            <a:off x="6192987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094974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22AA6F0B-4FE7-4E1E-A833-9372AA44889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94974" y="2790811"/>
            <a:ext cx="2716858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094974" y="3292761"/>
            <a:ext cx="2736980" cy="2376197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9C3F215E-98D7-4E75-AF2C-6DC421F9F5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EF847B60-F309-4884-9832-357BAAD658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4" name="addin_colorbox" hidden="1">
            <a:extLst>
              <a:ext uri="{FF2B5EF4-FFF2-40B4-BE49-F238E27FC236}">
                <a16:creationId xmlns:a16="http://schemas.microsoft.com/office/drawing/2014/main" id="{CCB23F58-B073-414A-9542-826ED845D63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31" name="addin_title" hidden="1">
            <a:extLst>
              <a:ext uri="{FF2B5EF4-FFF2-40B4-BE49-F238E27FC236}">
                <a16:creationId xmlns:a16="http://schemas.microsoft.com/office/drawing/2014/main" id="{E0B8CF1B-2796-41B4-98A5-9AA3E93611FE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32" name="addin_text" hidden="1">
            <a:extLst>
              <a:ext uri="{FF2B5EF4-FFF2-40B4-BE49-F238E27FC236}">
                <a16:creationId xmlns:a16="http://schemas.microsoft.com/office/drawing/2014/main" id="{F306296F-A7F1-41BF-B943-C7D7FA14781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3" name="addin_image" hidden="1">
            <a:extLst>
              <a:ext uri="{FF2B5EF4-FFF2-40B4-BE49-F238E27FC236}">
                <a16:creationId xmlns:a16="http://schemas.microsoft.com/office/drawing/2014/main" id="{C5CBAE70-7714-47C3-82CB-B11634DACAEB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4" name="addin_grouplist" hidden="1">
            <a:extLst>
              <a:ext uri="{FF2B5EF4-FFF2-40B4-BE49-F238E27FC236}">
                <a16:creationId xmlns:a16="http://schemas.microsoft.com/office/drawing/2014/main" id="{99881E91-E858-4E37-8704-3C1818D3175A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5" name="addin_logo" hidden="1">
            <a:extLst>
              <a:ext uri="{FF2B5EF4-FFF2-40B4-BE49-F238E27FC236}">
                <a16:creationId xmlns:a16="http://schemas.microsoft.com/office/drawing/2014/main" id="{D574164F-9CA4-4A10-8C31-D4E2B17D20C6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6" name="addin_fillplaceholders" hidden="1">
            <a:extLst>
              <a:ext uri="{FF2B5EF4-FFF2-40B4-BE49-F238E27FC236}">
                <a16:creationId xmlns:a16="http://schemas.microsoft.com/office/drawing/2014/main" id="{36B7DCBD-44E1-493E-85B0-E828E93D937C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37" name="addin_colorlist" hidden="1">
            <a:extLst>
              <a:ext uri="{FF2B5EF4-FFF2-40B4-BE49-F238E27FC236}">
                <a16:creationId xmlns:a16="http://schemas.microsoft.com/office/drawing/2014/main" id="{E563F0D4-11F4-42DD-9931-F4F51432C39A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38" name="addin_background" hidden="1">
            <a:extLst>
              <a:ext uri="{FF2B5EF4-FFF2-40B4-BE49-F238E27FC236}">
                <a16:creationId xmlns:a16="http://schemas.microsoft.com/office/drawing/2014/main" id="{6A47E99E-21A0-4BFE-92CC-423622BC33AB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02899497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bil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0001077-9CBF-4E3B-BC21-E948C160E96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60044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41D3FFA-A749-48E7-93B6-E3608A598D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45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B89F89F-F92D-4257-8097-9A576478EB5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20199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D368394-9DFE-49F7-8B3A-C5D11ABAF3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20199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78C22F4-77A5-4B84-BD5E-2A59A32FB5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FAE41322-259C-45E1-8EBA-CD9AEBC31A7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4C2A117-22FA-459F-976D-25DB69F158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547B788B-9E9A-45A9-B357-364F5972A24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12E1D021-9BB6-483B-B0CA-ABB02941583E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AE6A6AFF-72F2-4BDB-94A3-D92B38AC6AE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1390369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7AE244-E30D-4FB2-98A6-B9EC37B05A9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60043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CA0C917-5130-4608-85A6-627EB2AFD5D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33839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0C61C4C-3830-4483-B223-21FD6F02122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287512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BBD9063C-F778-46E7-8697-C72B9C1AA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BCBAFB08-AF77-436F-9BD6-4080968E01E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C92CEF28-9974-4654-BC4B-16683224EB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74EB04B7-23CB-400A-AA85-FD8B359FC6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457E567-3EF4-4752-87D8-A632A0518A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8" name="addin_colorlist" hidden="1">
            <a:extLst>
              <a:ext uri="{FF2B5EF4-FFF2-40B4-BE49-F238E27FC236}">
                <a16:creationId xmlns:a16="http://schemas.microsoft.com/office/drawing/2014/main" id="{192BE3FC-33A9-40BC-A479-57A961956F2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9" name="addin_background" hidden="1">
            <a:extLst>
              <a:ext uri="{FF2B5EF4-FFF2-40B4-BE49-F238E27FC236}">
                <a16:creationId xmlns:a16="http://schemas.microsoft.com/office/drawing/2014/main" id="{0622262C-05D6-4FA9-AC81-A220F534330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10921212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t bilde utfyll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0" y="1262748"/>
            <a:ext cx="12192000" cy="5595252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Text Placeholder 4" descr="Logo Universitetet i oslo">
            <a:extLst>
              <a:ext uri="{FF2B5EF4-FFF2-40B4-BE49-F238E27FC236}">
                <a16:creationId xmlns:a16="http://schemas.microsoft.com/office/drawing/2014/main" id="{47006D2C-998F-4DB7-B481-B9B3DCDC0DA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61FD05B-C54B-4336-9FA5-A6AE69EA83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6" name="addin_colorlist" hidden="1">
            <a:extLst>
              <a:ext uri="{FF2B5EF4-FFF2-40B4-BE49-F238E27FC236}">
                <a16:creationId xmlns:a16="http://schemas.microsoft.com/office/drawing/2014/main" id="{9A57ABF8-B03C-45E1-8D60-C254AB41F39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8" name="addin_background" hidden="1">
            <a:extLst>
              <a:ext uri="{FF2B5EF4-FFF2-40B4-BE49-F238E27FC236}">
                <a16:creationId xmlns:a16="http://schemas.microsoft.com/office/drawing/2014/main" id="{055166DC-2EAE-49E7-B441-171CC1D8ADC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7055543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BD289F-AA6B-4FB2-A81B-530238144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D1492D-B242-4BDE-940A-6ED6C625F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D3E5644C-DB70-4CBC-AC2B-038E4820ABB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5" name="addin_background" hidden="1">
            <a:extLst>
              <a:ext uri="{FF2B5EF4-FFF2-40B4-BE49-F238E27FC236}">
                <a16:creationId xmlns:a16="http://schemas.microsoft.com/office/drawing/2014/main" id="{3749FA81-9AD1-411B-9F14-0795464A48C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749894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fullbredde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659A8DBD-BD7A-4EDC-B67F-D66D4E02E6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12355"/>
            <a:ext cx="10343114" cy="6833287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B8534B2-2B3C-45E4-A5C6-20DB83FC5B61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846263" y="12356"/>
            <a:ext cx="10345737" cy="6832943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184891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37" name="Text Placeholder 6" descr="Logo Universitetet i oslo">
            <a:extLst>
              <a:ext uri="{FF2B5EF4-FFF2-40B4-BE49-F238E27FC236}">
                <a16:creationId xmlns:a16="http://schemas.microsoft.com/office/drawing/2014/main" id="{F29784C4-AE21-4452-BCC9-BC75C91449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6112" y="381854"/>
            <a:ext cx="5619582" cy="1116919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9" name="Title 6">
            <a:extLst>
              <a:ext uri="{FF2B5EF4-FFF2-40B4-BE49-F238E27FC236}">
                <a16:creationId xmlns:a16="http://schemas.microsoft.com/office/drawing/2014/main" id="{5D15D34C-2B62-4A4C-AEE9-82137A8B1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291ADE13-A8F2-46E2-995A-5B5A00B970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7E6BC4FE-C55B-40DF-BE2C-B4A366CA9E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2A5C5038-A44D-4A5A-B6E6-4A3A6640788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41" name="Date Placeholder 3">
            <a:extLst>
              <a:ext uri="{FF2B5EF4-FFF2-40B4-BE49-F238E27FC236}">
                <a16:creationId xmlns:a16="http://schemas.microsoft.com/office/drawing/2014/main" id="{6D771372-9AD5-430D-A81A-2E8203086F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17DA3A3C-41C9-4BB1-8AF6-64A31B42E6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49401EE1-2446-4FF1-9952-199B1AD33AA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7838A1EF-4F8F-4E02-84A8-CBDE742A016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1520438F-077B-4383-9B2E-BA087AF71C6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AA4849A-5DB1-449C-B5F9-8D23CAAC0678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6FF82BAB-E28F-4E02-86D8-FEDC0BED1A1D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EA3D402A-5E41-4E74-BCFE-6ECD172AE4E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addin_colorbox" hidden="1">
            <a:extLst>
              <a:ext uri="{FF2B5EF4-FFF2-40B4-BE49-F238E27FC236}">
                <a16:creationId xmlns:a16="http://schemas.microsoft.com/office/drawing/2014/main" id="{B21C5878-1C16-4124-B18E-3FD702004B13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7" name="addin_title" hidden="1">
            <a:extLst>
              <a:ext uri="{FF2B5EF4-FFF2-40B4-BE49-F238E27FC236}">
                <a16:creationId xmlns:a16="http://schemas.microsoft.com/office/drawing/2014/main" id="{25090456-9625-456B-9BF8-33469B9C80F5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8" name="addin_text" hidden="1">
            <a:extLst>
              <a:ext uri="{FF2B5EF4-FFF2-40B4-BE49-F238E27FC236}">
                <a16:creationId xmlns:a16="http://schemas.microsoft.com/office/drawing/2014/main" id="{335F99C5-F1AA-4F79-BB95-80F64E93637D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9" name="addin_image" hidden="1">
            <a:extLst>
              <a:ext uri="{FF2B5EF4-FFF2-40B4-BE49-F238E27FC236}">
                <a16:creationId xmlns:a16="http://schemas.microsoft.com/office/drawing/2014/main" id="{8F68B54B-8B5A-4C05-93DB-7F2DC877EF5E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0" name="addin_grouplist" hidden="1">
            <a:extLst>
              <a:ext uri="{FF2B5EF4-FFF2-40B4-BE49-F238E27FC236}">
                <a16:creationId xmlns:a16="http://schemas.microsoft.com/office/drawing/2014/main" id="{F2089761-1A50-4072-9872-C62B5CA9E1F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pic>
        <p:nvPicPr>
          <p:cNvPr id="31" name="logo_hvit" descr="UiO Segl" hidden="1">
            <a:extLst>
              <a:ext uri="{FF2B5EF4-FFF2-40B4-BE49-F238E27FC236}">
                <a16:creationId xmlns:a16="http://schemas.microsoft.com/office/drawing/2014/main" id="{27B17C39-2B30-4789-8BEA-4AE4B2320B7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3" y="5458074"/>
            <a:ext cx="1025436" cy="1025436"/>
          </a:xfrm>
          <a:prstGeom prst="rect">
            <a:avLst/>
          </a:prstGeom>
        </p:spPr>
      </p:pic>
      <p:pic>
        <p:nvPicPr>
          <p:cNvPr id="32" name="logo_sort" descr="UiO segl" hidden="1">
            <a:extLst>
              <a:ext uri="{FF2B5EF4-FFF2-40B4-BE49-F238E27FC236}">
                <a16:creationId xmlns:a16="http://schemas.microsoft.com/office/drawing/2014/main" id="{46600C4D-987E-4F2B-917A-380F2324CB51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785613" y="5456640"/>
            <a:ext cx="1025421" cy="1025421"/>
          </a:xfrm>
          <a:prstGeom prst="rect">
            <a:avLst/>
          </a:prstGeom>
        </p:spPr>
      </p:pic>
      <p:sp>
        <p:nvSpPr>
          <p:cNvPr id="34" name="addin_logo" hidden="1">
            <a:extLst>
              <a:ext uri="{FF2B5EF4-FFF2-40B4-BE49-F238E27FC236}">
                <a16:creationId xmlns:a16="http://schemas.microsoft.com/office/drawing/2014/main" id="{E5963F14-DFC9-40C0-BCD0-4A837E431DF5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5" name="addin_colorlist" hidden="1">
            <a:extLst>
              <a:ext uri="{FF2B5EF4-FFF2-40B4-BE49-F238E27FC236}">
                <a16:creationId xmlns:a16="http://schemas.microsoft.com/office/drawing/2014/main" id="{B73620FB-5D82-4728-A1F9-C75D53925FBA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09EEDD50-63E6-41B4-83C0-DB199267B4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12476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ullbredde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0"/>
            <a:ext cx="10343114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848885" y="0"/>
            <a:ext cx="10343115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50289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ullbredde UiO Innhold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0"/>
            <a:ext cx="12188597" cy="69469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0" y="0"/>
            <a:ext cx="12192000" cy="69469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49302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fakultet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FDE277A-D1D4-46F7-9ED8-7C20DEB74C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0624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9" imgH="343" progId="TCLayout.ActiveDocument.1">
                  <p:embed/>
                </p:oleObj>
              </mc:Choice>
              <mc:Fallback>
                <p:oleObj name="think-cell Slide" r:id="rId3" imgW="339" imgH="34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FDE277A-D1D4-46F7-9ED8-7C20DEB74C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A84D768E-AC85-41DD-B1B7-0298BF33163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E17BAB58-FE9E-48CD-90C1-5A92CD4AF3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D1011A16-94DD-4043-A614-BEC724B6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BC09F072-DFF2-42B8-9221-578EE194D0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3BBDCC2B-F1B3-4493-BC07-8FE83C70C0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24" name="Graphic 23" descr="UiO segl">
            <a:extLst>
              <a:ext uri="{FF2B5EF4-FFF2-40B4-BE49-F238E27FC236}">
                <a16:creationId xmlns:a16="http://schemas.microsoft.com/office/drawing/2014/main" id="{EC3480BC-2C3D-4A7E-9C52-40E1CC216EE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9C5D506-67A5-4F89-8560-22F43BCF74A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FCA3E1BC-B669-4110-87EA-FAF1FA6121D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3ED724C7-6D8D-4B02-A942-476103665D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3875A1F9-BE97-453C-A6D3-C2B80FB26DA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74C45E3-A0CF-4E11-99D4-B0A97B5ECA6D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0" name="addin_grouplist" hidden="1">
            <a:extLst>
              <a:ext uri="{FF2B5EF4-FFF2-40B4-BE49-F238E27FC236}">
                <a16:creationId xmlns:a16="http://schemas.microsoft.com/office/drawing/2014/main" id="{E863661C-B13F-46BB-BA71-469E9D5AB327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6B15E5D0-41F1-4B95-AEBC-8FEF29F24DE4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4918201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akulte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C57EEA8-87A3-4F4A-8A88-C8CF94340B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9552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9" imgH="343" progId="TCLayout.ActiveDocument.1">
                  <p:embed/>
                </p:oleObj>
              </mc:Choice>
              <mc:Fallback>
                <p:oleObj name="think-cell Slide" r:id="rId3" imgW="339" imgH="34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C57EEA8-87A3-4F4A-8A88-C8CF94340B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0FDCF8F-A008-4CFD-BFC2-4B8B6F9B51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2127E9DC-8728-47D2-950F-5610AB44AE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12AB716-EA8C-40F3-9E5E-FADFDE5B68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C0D51CD3-9F1B-45C4-9816-FCEC12A47A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28" name="Graphic 27" descr="UiO segl">
            <a:extLst>
              <a:ext uri="{FF2B5EF4-FFF2-40B4-BE49-F238E27FC236}">
                <a16:creationId xmlns:a16="http://schemas.microsoft.com/office/drawing/2014/main" id="{AECCD3CC-AC27-4207-85D4-8056C1F5FDD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366813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akulte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16BE45C5-2FD6-4365-884E-E7211BA9F8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FC80015-4906-4750-9E68-18BCB837A81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15063" y="0"/>
            <a:ext cx="5976937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B116A28A-122D-47FC-B20F-2DE6D034FB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5634" y="2283763"/>
            <a:ext cx="5075367" cy="1650530"/>
          </a:xfrm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16F080F3-F66D-44E1-A274-51E675B7D7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B993451-3DED-457B-B2BA-C0AD678BC4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E4C943B6-9D87-4707-9BC0-AB5D348B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9138817D-ECF3-4F24-AB4D-EE86A7D38E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E981D0C6-9965-4EA6-835B-007DA74548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FB8D8BF6-D27B-473E-8C7F-5564EC4E8842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EA2A8D1-CC8A-49D7-B5F3-4D3D31E797B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FA762AA7-0630-463D-983A-714A0FDC6D6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BADFE346-6D41-462E-B93E-8A458125843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2F05EFBC-3D55-4A55-AC99-18A584A64FD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22529F69-78C3-4EA5-A8EF-DAED9CFEB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26D5A990-E30B-4E3A-A5A7-8F106A934EC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2760581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3D537D-BDA7-442F-85CC-77B15D3E9EBA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EA343E91-A7F8-411F-8D9E-AD0CD04545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353483E-A81E-4295-A996-3D67CCCC2E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A0F37DB2-E675-4E63-AD01-1D4996198F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AF5E8745-EB5B-4C17-A308-AC6088BCA6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7CB7E83F-937E-4B9E-830A-492432F3A4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B8980526-4F9F-495D-A07D-8D82934AE66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9BE98BF2-9E12-4468-BCAE-2A3B441A6E8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5691721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3.sv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22D069C-C025-484F-B809-F6C0328593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2801709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339" imgH="343" progId="TCLayout.ActiveDocument.1">
                  <p:embed/>
                </p:oleObj>
              </mc:Choice>
              <mc:Fallback>
                <p:oleObj name="think-cell Slide" r:id="rId30" imgW="339" imgH="34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22D069C-C025-484F-B809-F6C0328593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4432" y="-180924"/>
            <a:ext cx="10515600" cy="13255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2529" y="1711312"/>
            <a:ext cx="5563433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0" y="626352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66367" y="6263528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rgbClr val="524B48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raphic 10" descr="Logo Universitet i oslo">
            <a:extLst>
              <a:ext uri="{FF2B5EF4-FFF2-40B4-BE49-F238E27FC236}">
                <a16:creationId xmlns:a16="http://schemas.microsoft.com/office/drawing/2014/main" id="{C0E4FBEC-28F7-4C61-8732-186A1AAD3429}"/>
              </a:ext>
            </a:extLst>
          </p:cNvPr>
          <p:cNvPicPr>
            <a:picLocks noChangeAspect="1"/>
          </p:cNvPicPr>
          <p:nvPr userDrawn="1"/>
        </p:nvPicPr>
        <p:blipFill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381001" y="6280142"/>
            <a:ext cx="1021262" cy="202980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5F9D6C5-6F73-4568-92A3-43149586B0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8" name="addin_colorpicker" hidden="1">
            <a:extLst>
              <a:ext uri="{FF2B5EF4-FFF2-40B4-BE49-F238E27FC236}">
                <a16:creationId xmlns:a16="http://schemas.microsoft.com/office/drawing/2014/main" id="{EC6BC642-49C3-4139-8F38-A96E75EE0920}"/>
              </a:ext>
            </a:extLst>
          </p:cNvPr>
          <p:cNvSpPr/>
          <p:nvPr userDrawn="1"/>
        </p:nvSpPr>
        <p:spPr>
          <a:xfrm>
            <a:off x="2486668" y="-1436292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addin_colorpicker</a:t>
            </a:r>
          </a:p>
        </p:txBody>
      </p:sp>
    </p:spTree>
    <p:extLst>
      <p:ext uri="{BB962C8B-B14F-4D97-AF65-F5344CB8AC3E}">
        <p14:creationId xmlns:p14="http://schemas.microsoft.com/office/powerpoint/2010/main" val="33922868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9" r:id="rId5"/>
    <p:sldLayoutId id="2147483726" r:id="rId6"/>
    <p:sldLayoutId id="2147483727" r:id="rId7"/>
    <p:sldLayoutId id="2147483728" r:id="rId8"/>
    <p:sldLayoutId id="2147483721" r:id="rId9"/>
    <p:sldLayoutId id="2147483720" r:id="rId10"/>
    <p:sldLayoutId id="2147483719" r:id="rId11"/>
    <p:sldLayoutId id="2147483701" r:id="rId12"/>
    <p:sldLayoutId id="2147483702" r:id="rId13"/>
    <p:sldLayoutId id="2147483704" r:id="rId14"/>
    <p:sldLayoutId id="2147483706" r:id="rId15"/>
    <p:sldLayoutId id="2147483716" r:id="rId16"/>
    <p:sldLayoutId id="2147483717" r:id="rId17"/>
    <p:sldLayoutId id="2147483713" r:id="rId18"/>
    <p:sldLayoutId id="2147483714" r:id="rId19"/>
    <p:sldLayoutId id="2147483709" r:id="rId20"/>
    <p:sldLayoutId id="2147483710" r:id="rId21"/>
    <p:sldLayoutId id="2147483711" r:id="rId22"/>
    <p:sldLayoutId id="2147483712" r:id="rId23"/>
    <p:sldLayoutId id="2147483707" r:id="rId24"/>
    <p:sldLayoutId id="2147483708" r:id="rId25"/>
    <p:sldLayoutId id="2147483715" r:id="rId26"/>
    <p:sldLayoutId id="2147483718" r:id="rId27"/>
  </p:sldLayoutIdLst>
  <p:hf hdr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3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914446" rtl="0" eaLnBrk="1" latinLnBrk="0" hangingPunct="1">
        <a:lnSpc>
          <a:spcPct val="100000"/>
        </a:lnSpc>
        <a:spcBef>
          <a:spcPts val="115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8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16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50D004C-BF69-4213-965C-6C84BEA90CD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06E4009-9765-40E1-BF9B-2626C30AABF8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CDA670-EF96-45D8-88C4-3856D1E663C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8C16AFB0-9D5C-4D69-A1A9-2B848BE8B87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63595" y="5199013"/>
            <a:ext cx="2135200" cy="269304"/>
          </a:xfrm>
        </p:spPr>
        <p:txBody>
          <a:bodyPr/>
          <a:lstStyle/>
          <a:p>
            <a:r>
              <a:rPr lang="nb-NO" dirty="0"/>
              <a:t>Kristin Fossum Stene</a:t>
            </a:r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0408170-1A45-4945-A393-A19E765F80B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463594" y="5468760"/>
            <a:ext cx="1410643" cy="269304"/>
          </a:xfrm>
        </p:spPr>
        <p:txBody>
          <a:bodyPr/>
          <a:lstStyle/>
          <a:p>
            <a:r>
              <a:rPr lang="nb-NO" dirty="0"/>
              <a:t>Seksjonsleder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930E6F4-DFB3-49DC-B4AB-59D84F4652B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463594" y="5735491"/>
            <a:ext cx="2484655" cy="269304"/>
          </a:xfrm>
        </p:spPr>
        <p:txBody>
          <a:bodyPr/>
          <a:lstStyle/>
          <a:p>
            <a:r>
              <a:rPr lang="nb-NO" dirty="0"/>
              <a:t>Seksjon for studiekvalitet</a:t>
            </a:r>
            <a:endParaRPr lang="en-GB" dirty="0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C61F097-80AB-4E65-931F-B99CFFE6718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875240" cy="269304"/>
          </a:xfrm>
        </p:spPr>
        <p:txBody>
          <a:bodyPr/>
          <a:lstStyle/>
          <a:p>
            <a:r>
              <a:rPr lang="en-US" dirty="0">
                <a:highlight>
                  <a:srgbClr val="FFFFFF"/>
                </a:highlight>
              </a:rPr>
              <a:t>26.04.22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3D1436C-4E99-4AFB-B772-FB244D50710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9C29483-6398-4F7D-8C7C-6DBF436A72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Krig i Ukraina</a:t>
            </a:r>
            <a:br>
              <a:rPr lang="nb-NO" dirty="0"/>
            </a:br>
            <a:r>
              <a:rPr lang="nb-NO" dirty="0"/>
              <a:t>- dette gjør UiO</a:t>
            </a:r>
            <a:endParaRPr lang="en-GB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E541D12-034D-44B9-B5AD-01FF704F17E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 vert="horz" lIns="0" tIns="0" rIns="0" bIns="0" rtlCol="0" anchor="t">
            <a:noAutofit/>
          </a:bodyPr>
          <a:lstStyle/>
          <a:p>
            <a:r>
              <a:rPr lang="nb-NO" dirty="0"/>
              <a:t>Orientering til utdanningskomiteen 27.04.22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256029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A45891-E213-4DA4-8222-F3738CB56D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Nåværende studenter – våren 2022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2F3CEAD-FD8C-429C-A882-138CF72F25EC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0771171-44F7-4FBB-B281-4CE167C3E690}"/>
              </a:ext>
            </a:extLst>
          </p:cNvPr>
          <p:cNvSpPr>
            <a:spLocks noGrp="1"/>
          </p:cNvSpPr>
          <p:nvPr>
            <p:ph sz="half" idx="30"/>
          </p:nvPr>
        </p:nvSpPr>
        <p:spPr/>
        <p:txBody>
          <a:bodyPr vert="horz" lIns="0" tIns="0" rIns="0" bIns="0" rtlCol="0" anchor="t">
            <a:noAutofit/>
          </a:bodyPr>
          <a:lstStyle/>
          <a:p>
            <a:pPr marL="287655" indent="-287655"/>
            <a:r>
              <a:rPr lang="nb-NO" dirty="0"/>
              <a:t>Studenter fra Ukraina og Russland har hatt møter med UiO-ledelsen og får oppfølging lokalt</a:t>
            </a:r>
            <a:endParaRPr lang="en-US"/>
          </a:p>
          <a:p>
            <a:pPr marL="287655" indent="-287655"/>
            <a:r>
              <a:rPr lang="nb-NO" dirty="0"/>
              <a:t>Kunnskapsdepartementets stipendordning for s</a:t>
            </a:r>
            <a:r>
              <a:rPr lang="en-GB" b="0" i="0" dirty="0" err="1">
                <a:solidFill>
                  <a:srgbClr val="000000"/>
                </a:solidFill>
                <a:effectLst/>
                <a:latin typeface="Helvetica"/>
                <a:cs typeface="Helvetica"/>
              </a:rPr>
              <a:t>tudenter</a:t>
            </a:r>
            <a:r>
              <a:rPr lang="en-GB" b="0" i="0" dirty="0">
                <a:solidFill>
                  <a:srgbClr val="000000"/>
                </a:solidFill>
                <a:effectLst/>
                <a:latin typeface="Helvetica"/>
                <a:cs typeface="Helvetica"/>
              </a:rPr>
              <a:t> </a:t>
            </a:r>
            <a:r>
              <a:rPr lang="en-GB" b="0" i="0" dirty="0" err="1">
                <a:solidFill>
                  <a:srgbClr val="000000"/>
                </a:solidFill>
                <a:effectLst/>
                <a:latin typeface="Helvetica"/>
                <a:cs typeface="Helvetica"/>
              </a:rPr>
              <a:t>som</a:t>
            </a:r>
            <a:r>
              <a:rPr lang="en-GB" b="0" i="0" dirty="0">
                <a:solidFill>
                  <a:srgbClr val="000000"/>
                </a:solidFill>
                <a:effectLst/>
                <a:latin typeface="Helvetica"/>
                <a:cs typeface="Helvetica"/>
              </a:rPr>
              <a:t> </a:t>
            </a:r>
            <a:r>
              <a:rPr lang="en-GB" b="0" i="0" dirty="0" err="1">
                <a:solidFill>
                  <a:srgbClr val="000000"/>
                </a:solidFill>
                <a:effectLst/>
                <a:latin typeface="Helvetica"/>
                <a:cs typeface="Helvetica"/>
              </a:rPr>
              <a:t>opplever</a:t>
            </a:r>
            <a:r>
              <a:rPr lang="en-GB" b="0" i="0" dirty="0">
                <a:solidFill>
                  <a:srgbClr val="000000"/>
                </a:solidFill>
                <a:effectLst/>
                <a:latin typeface="Helvetica"/>
                <a:cs typeface="Helvetica"/>
              </a:rPr>
              <a:t> </a:t>
            </a:r>
            <a:r>
              <a:rPr lang="en-GB" b="0" i="0" dirty="0" err="1">
                <a:solidFill>
                  <a:srgbClr val="000000"/>
                </a:solidFill>
                <a:effectLst/>
                <a:latin typeface="Helvetica"/>
                <a:cs typeface="Helvetica"/>
              </a:rPr>
              <a:t>økonomiske</a:t>
            </a:r>
            <a:r>
              <a:rPr lang="en-GB" b="0" i="0" dirty="0">
                <a:solidFill>
                  <a:srgbClr val="000000"/>
                </a:solidFill>
                <a:effectLst/>
                <a:latin typeface="Helvetica"/>
                <a:cs typeface="Helvetica"/>
              </a:rPr>
              <a:t> </a:t>
            </a:r>
            <a:r>
              <a:rPr lang="en-GB" b="0" i="0" dirty="0" err="1">
                <a:solidFill>
                  <a:srgbClr val="000000"/>
                </a:solidFill>
                <a:effectLst/>
                <a:latin typeface="Helvetica"/>
                <a:cs typeface="Helvetica"/>
              </a:rPr>
              <a:t>utfordringer</a:t>
            </a:r>
            <a:r>
              <a:rPr lang="en-GB" b="0" i="0" dirty="0">
                <a:solidFill>
                  <a:srgbClr val="000000"/>
                </a:solidFill>
                <a:effectLst/>
                <a:latin typeface="Helvetica"/>
                <a:cs typeface="Helvetica"/>
              </a:rPr>
              <a:t> </a:t>
            </a:r>
            <a:r>
              <a:rPr lang="en-GB" b="0" i="0" dirty="0" err="1">
                <a:solidFill>
                  <a:srgbClr val="000000"/>
                </a:solidFill>
                <a:effectLst/>
                <a:latin typeface="Helvetica"/>
                <a:cs typeface="Helvetica"/>
              </a:rPr>
              <a:t>på</a:t>
            </a:r>
            <a:r>
              <a:rPr lang="en-GB" b="0" i="0" dirty="0">
                <a:solidFill>
                  <a:srgbClr val="000000"/>
                </a:solidFill>
                <a:effectLst/>
                <a:latin typeface="Helvetica"/>
                <a:cs typeface="Helvetica"/>
              </a:rPr>
              <a:t> </a:t>
            </a:r>
            <a:r>
              <a:rPr lang="en-GB" b="0" i="0" dirty="0" err="1">
                <a:solidFill>
                  <a:srgbClr val="000000"/>
                </a:solidFill>
                <a:effectLst/>
                <a:latin typeface="Helvetica"/>
                <a:cs typeface="Helvetica"/>
              </a:rPr>
              <a:t>grunn</a:t>
            </a:r>
            <a:r>
              <a:rPr lang="en-GB" b="0" i="0" dirty="0">
                <a:solidFill>
                  <a:srgbClr val="000000"/>
                </a:solidFill>
                <a:effectLst/>
                <a:latin typeface="Helvetica"/>
                <a:cs typeface="Helvetica"/>
              </a:rPr>
              <a:t> </a:t>
            </a:r>
            <a:r>
              <a:rPr lang="en-GB" b="0" i="0" dirty="0" err="1">
                <a:solidFill>
                  <a:srgbClr val="000000"/>
                </a:solidFill>
                <a:effectLst/>
                <a:latin typeface="Helvetica"/>
                <a:cs typeface="Helvetica"/>
              </a:rPr>
              <a:t>av</a:t>
            </a:r>
            <a:r>
              <a:rPr lang="en-GB" b="0" i="0" dirty="0">
                <a:solidFill>
                  <a:srgbClr val="000000"/>
                </a:solidFill>
                <a:effectLst/>
                <a:latin typeface="Helvetica"/>
                <a:cs typeface="Helvetica"/>
              </a:rPr>
              <a:t> </a:t>
            </a:r>
            <a:r>
              <a:rPr lang="en-GB" b="0" i="0" dirty="0" err="1">
                <a:solidFill>
                  <a:srgbClr val="000000"/>
                </a:solidFill>
                <a:effectLst/>
                <a:latin typeface="Helvetica"/>
                <a:cs typeface="Helvetica"/>
              </a:rPr>
              <a:t>krigen</a:t>
            </a:r>
            <a:r>
              <a:rPr lang="en-GB" b="0" i="0" dirty="0">
                <a:solidFill>
                  <a:srgbClr val="000000"/>
                </a:solidFill>
                <a:effectLst/>
                <a:latin typeface="Helvetica"/>
                <a:cs typeface="Helvetica"/>
              </a:rPr>
              <a:t> </a:t>
            </a:r>
            <a:r>
              <a:rPr lang="en-GB" b="0" i="0" dirty="0" err="1">
                <a:solidFill>
                  <a:srgbClr val="000000"/>
                </a:solidFill>
                <a:effectLst/>
                <a:latin typeface="Helvetica"/>
                <a:cs typeface="Helvetica"/>
              </a:rPr>
              <a:t>eller</a:t>
            </a:r>
            <a:r>
              <a:rPr lang="en-GB" b="0" i="0" dirty="0">
                <a:solidFill>
                  <a:srgbClr val="000000"/>
                </a:solidFill>
                <a:effectLst/>
                <a:latin typeface="Helvetica"/>
                <a:cs typeface="Helvetica"/>
              </a:rPr>
              <a:t> </a:t>
            </a:r>
            <a:r>
              <a:rPr lang="en-GB" b="0" i="0" dirty="0" err="1">
                <a:solidFill>
                  <a:srgbClr val="000000"/>
                </a:solidFill>
                <a:effectLst/>
                <a:latin typeface="Helvetica"/>
                <a:cs typeface="Helvetica"/>
              </a:rPr>
              <a:t>økonomiske</a:t>
            </a:r>
            <a:r>
              <a:rPr lang="en-GB" b="0" i="0" dirty="0">
                <a:solidFill>
                  <a:srgbClr val="000000"/>
                </a:solidFill>
                <a:effectLst/>
                <a:latin typeface="Helvetica"/>
                <a:cs typeface="Helvetica"/>
              </a:rPr>
              <a:t> </a:t>
            </a:r>
            <a:r>
              <a:rPr lang="en-GB" b="0" i="0" dirty="0" err="1">
                <a:solidFill>
                  <a:srgbClr val="000000"/>
                </a:solidFill>
                <a:effectLst/>
                <a:latin typeface="Helvetica"/>
                <a:cs typeface="Helvetica"/>
              </a:rPr>
              <a:t>sanksjoner</a:t>
            </a:r>
            <a:r>
              <a:rPr lang="en-GB" b="0" i="0" dirty="0">
                <a:solidFill>
                  <a:srgbClr val="000000"/>
                </a:solidFill>
                <a:effectLst/>
                <a:latin typeface="Helvetica"/>
                <a:cs typeface="Helvetica"/>
              </a:rPr>
              <a:t> (</a:t>
            </a:r>
            <a:r>
              <a:rPr lang="en-GB" dirty="0">
                <a:solidFill>
                  <a:srgbClr val="000000"/>
                </a:solidFill>
                <a:latin typeface="Helvetica"/>
                <a:cs typeface="Helvetica"/>
              </a:rPr>
              <a:t>i </a:t>
            </a:r>
            <a:r>
              <a:rPr lang="en-GB" b="0" i="0" dirty="0" err="1">
                <a:solidFill>
                  <a:srgbClr val="000000"/>
                </a:solidFill>
                <a:effectLst/>
                <a:latin typeface="Helvetica"/>
                <a:cs typeface="Helvetica"/>
              </a:rPr>
              <a:t>perioden</a:t>
            </a:r>
            <a:r>
              <a:rPr lang="en-GB" b="0" i="0" dirty="0">
                <a:solidFill>
                  <a:srgbClr val="000000"/>
                </a:solidFill>
                <a:effectLst/>
                <a:latin typeface="Helvetica"/>
                <a:cs typeface="Helvetica"/>
              </a:rPr>
              <a:t> mars-</a:t>
            </a:r>
            <a:r>
              <a:rPr lang="en-GB" b="0" i="0" dirty="0" err="1">
                <a:solidFill>
                  <a:srgbClr val="000000"/>
                </a:solidFill>
                <a:effectLst/>
                <a:latin typeface="Helvetica"/>
                <a:cs typeface="Helvetica"/>
              </a:rPr>
              <a:t>juli</a:t>
            </a:r>
            <a:r>
              <a:rPr lang="en-GB" b="0" i="0" dirty="0">
                <a:solidFill>
                  <a:srgbClr val="000000"/>
                </a:solidFill>
                <a:effectLst/>
                <a:latin typeface="Helvetica"/>
                <a:cs typeface="Helvetica"/>
              </a:rPr>
              <a:t>):</a:t>
            </a:r>
            <a:br>
              <a:rPr lang="en-GB" b="0" i="0" dirty="0">
                <a:effectLst/>
                <a:latin typeface="Helvetica" panose="020B0604020202020204" pitchFamily="34" charset="0"/>
              </a:rPr>
            </a:br>
            <a:r>
              <a:rPr lang="en-GB" b="0" i="0" dirty="0" err="1">
                <a:solidFill>
                  <a:srgbClr val="000000"/>
                </a:solidFill>
                <a:effectLst/>
                <a:latin typeface="Helvetica"/>
                <a:cs typeface="Helvetica"/>
              </a:rPr>
              <a:t>Studieavdelingen</a:t>
            </a:r>
            <a:r>
              <a:rPr lang="en-GB" b="0" i="0" dirty="0">
                <a:solidFill>
                  <a:srgbClr val="000000"/>
                </a:solidFill>
                <a:effectLst/>
                <a:latin typeface="Helvetica"/>
                <a:cs typeface="Helvetica"/>
              </a:rPr>
              <a:t> har </a:t>
            </a:r>
            <a:r>
              <a:rPr lang="en-GB" b="0" i="0" dirty="0" err="1">
                <a:solidFill>
                  <a:srgbClr val="000000"/>
                </a:solidFill>
                <a:effectLst/>
                <a:latin typeface="Helvetica"/>
                <a:cs typeface="Helvetica"/>
              </a:rPr>
              <a:t>fått</a:t>
            </a:r>
            <a:r>
              <a:rPr lang="en-GB" b="0" i="0" dirty="0">
                <a:solidFill>
                  <a:srgbClr val="000000"/>
                </a:solidFill>
                <a:effectLst/>
                <a:latin typeface="Helvetica"/>
                <a:cs typeface="Helvetica"/>
              </a:rPr>
              <a:t> 27 </a:t>
            </a:r>
            <a:r>
              <a:rPr lang="en-GB" b="0" i="0" dirty="0" err="1">
                <a:solidFill>
                  <a:srgbClr val="000000"/>
                </a:solidFill>
                <a:effectLst/>
                <a:latin typeface="Helvetica"/>
                <a:cs typeface="Helvetica"/>
              </a:rPr>
              <a:t>søknader</a:t>
            </a:r>
            <a:r>
              <a:rPr lang="en-GB" b="0" i="0" dirty="0">
                <a:solidFill>
                  <a:srgbClr val="000000"/>
                </a:solidFill>
                <a:effectLst/>
                <a:latin typeface="Helvetica"/>
                <a:cs typeface="Helvetica"/>
              </a:rPr>
              <a:t> </a:t>
            </a:r>
            <a:r>
              <a:rPr lang="en-GB" b="0" i="0" dirty="0" err="1">
                <a:solidFill>
                  <a:srgbClr val="000000"/>
                </a:solidFill>
                <a:effectLst/>
                <a:latin typeface="Helvetica"/>
                <a:cs typeface="Helvetica"/>
              </a:rPr>
              <a:t>hittil</a:t>
            </a:r>
            <a:r>
              <a:rPr lang="en-GB" b="0" i="0" dirty="0">
                <a:solidFill>
                  <a:srgbClr val="000000"/>
                </a:solidFill>
                <a:effectLst/>
                <a:latin typeface="Helvetica"/>
                <a:cs typeface="Helvetica"/>
              </a:rPr>
              <a:t> </a:t>
            </a:r>
            <a:r>
              <a:rPr lang="en-GB" b="0" i="0" dirty="0" err="1">
                <a:solidFill>
                  <a:srgbClr val="000000"/>
                </a:solidFill>
                <a:effectLst/>
                <a:latin typeface="Helvetica"/>
                <a:cs typeface="Helvetica"/>
              </a:rPr>
              <a:t>og</a:t>
            </a:r>
            <a:r>
              <a:rPr lang="en-GB" b="0" i="0" dirty="0">
                <a:solidFill>
                  <a:srgbClr val="000000"/>
                </a:solidFill>
                <a:effectLst/>
                <a:latin typeface="Helvetica"/>
                <a:cs typeface="Helvetica"/>
              </a:rPr>
              <a:t> </a:t>
            </a:r>
            <a:r>
              <a:rPr lang="en-GB" b="0" i="0" dirty="0" err="1">
                <a:solidFill>
                  <a:srgbClr val="000000"/>
                </a:solidFill>
                <a:effectLst/>
                <a:latin typeface="Helvetica"/>
                <a:cs typeface="Helvetica"/>
              </a:rPr>
              <a:t>innvilget</a:t>
            </a:r>
            <a:r>
              <a:rPr lang="en-GB" b="0" i="0" dirty="0">
                <a:solidFill>
                  <a:srgbClr val="000000"/>
                </a:solidFill>
                <a:effectLst/>
                <a:latin typeface="Helvetica"/>
                <a:cs typeface="Helvetica"/>
              </a:rPr>
              <a:t> </a:t>
            </a:r>
            <a:r>
              <a:rPr lang="en-GB" b="0" i="0" dirty="0" err="1">
                <a:solidFill>
                  <a:srgbClr val="000000"/>
                </a:solidFill>
                <a:effectLst/>
                <a:latin typeface="Helvetica"/>
                <a:cs typeface="Helvetica"/>
              </a:rPr>
              <a:t>til</a:t>
            </a:r>
            <a:r>
              <a:rPr lang="en-GB" b="0" i="0" dirty="0">
                <a:solidFill>
                  <a:srgbClr val="000000"/>
                </a:solidFill>
                <a:effectLst/>
                <a:latin typeface="Helvetica"/>
                <a:cs typeface="Helvetica"/>
              </a:rPr>
              <a:t> 16 </a:t>
            </a:r>
            <a:r>
              <a:rPr lang="en-GB" b="0" i="0" dirty="0" err="1">
                <a:solidFill>
                  <a:srgbClr val="000000"/>
                </a:solidFill>
                <a:effectLst/>
                <a:latin typeface="Helvetica"/>
                <a:cs typeface="Helvetica"/>
              </a:rPr>
              <a:t>personer</a:t>
            </a:r>
            <a:r>
              <a:rPr lang="en-GB" b="0" i="0" dirty="0">
                <a:solidFill>
                  <a:srgbClr val="000000"/>
                </a:solidFill>
                <a:effectLst/>
                <a:latin typeface="Helvetica"/>
                <a:cs typeface="Helvetica"/>
              </a:rPr>
              <a:t> </a:t>
            </a:r>
            <a:r>
              <a:rPr lang="en-GB" b="0" i="0" dirty="0" err="1">
                <a:solidFill>
                  <a:srgbClr val="000000"/>
                </a:solidFill>
                <a:effectLst/>
                <a:latin typeface="Helvetica"/>
                <a:cs typeface="Helvetica"/>
              </a:rPr>
              <a:t>fra</a:t>
            </a:r>
            <a:r>
              <a:rPr lang="en-GB" b="0" i="0" dirty="0">
                <a:solidFill>
                  <a:srgbClr val="000000"/>
                </a:solidFill>
                <a:effectLst/>
                <a:latin typeface="Helvetica"/>
                <a:cs typeface="Helvetica"/>
              </a:rPr>
              <a:t> </a:t>
            </a:r>
            <a:r>
              <a:rPr lang="en-GB" b="0" i="0" dirty="0" err="1">
                <a:solidFill>
                  <a:srgbClr val="000000"/>
                </a:solidFill>
                <a:effectLst/>
                <a:latin typeface="Helvetica"/>
                <a:cs typeface="Helvetica"/>
              </a:rPr>
              <a:t>Russlan</a:t>
            </a:r>
            <a:r>
              <a:rPr lang="en-GB" dirty="0" err="1">
                <a:solidFill>
                  <a:srgbClr val="000000"/>
                </a:solidFill>
                <a:latin typeface="Helvetica"/>
                <a:cs typeface="Helvetica"/>
              </a:rPr>
              <a:t>d</a:t>
            </a:r>
            <a:r>
              <a:rPr lang="en-GB" dirty="0">
                <a:solidFill>
                  <a:srgbClr val="000000"/>
                </a:solidFill>
                <a:latin typeface="Helvetica"/>
                <a:cs typeface="Helvetica"/>
              </a:rPr>
              <a:t> </a:t>
            </a:r>
            <a:r>
              <a:rPr lang="en-GB" dirty="0" err="1">
                <a:solidFill>
                  <a:srgbClr val="000000"/>
                </a:solidFill>
                <a:latin typeface="Helvetica"/>
                <a:cs typeface="Helvetica"/>
              </a:rPr>
              <a:t>og</a:t>
            </a:r>
            <a:r>
              <a:rPr lang="en-GB" dirty="0">
                <a:solidFill>
                  <a:srgbClr val="000000"/>
                </a:solidFill>
                <a:latin typeface="Helvetica"/>
                <a:cs typeface="Helvetica"/>
              </a:rPr>
              <a:t> 2 </a:t>
            </a:r>
            <a:r>
              <a:rPr lang="en-GB" dirty="0" err="1">
                <a:solidFill>
                  <a:srgbClr val="000000"/>
                </a:solidFill>
                <a:latin typeface="Helvetica"/>
                <a:cs typeface="Helvetica"/>
              </a:rPr>
              <a:t>fra</a:t>
            </a:r>
            <a:r>
              <a:rPr lang="en-GB" dirty="0">
                <a:solidFill>
                  <a:srgbClr val="000000"/>
                </a:solidFill>
                <a:latin typeface="Helvetica"/>
                <a:cs typeface="Helvetica"/>
              </a:rPr>
              <a:t> Ukraina. Ca 800.000 kr.</a:t>
            </a:r>
            <a:endParaRPr lang="en-GB" b="0" i="0" dirty="0">
              <a:solidFill>
                <a:srgbClr val="000000"/>
              </a:solidFill>
              <a:effectLst/>
              <a:latin typeface="Helvetica"/>
              <a:cs typeface="Helvetica"/>
            </a:endParaRPr>
          </a:p>
          <a:p>
            <a:pPr marL="287655" indent="-287655"/>
            <a:r>
              <a:rPr lang="en-GB" dirty="0" err="1">
                <a:solidFill>
                  <a:srgbClr val="000000"/>
                </a:solidFill>
                <a:latin typeface="Helvetica"/>
                <a:cs typeface="Helvetica"/>
              </a:rPr>
              <a:t>Må</a:t>
            </a:r>
            <a:r>
              <a:rPr lang="en-GB" dirty="0">
                <a:solidFill>
                  <a:srgbClr val="000000"/>
                </a:solidFill>
                <a:latin typeface="Helvetica"/>
                <a:cs typeface="Helvetica"/>
              </a:rPr>
              <a:t> </a:t>
            </a:r>
            <a:r>
              <a:rPr lang="en-GB" dirty="0" err="1">
                <a:solidFill>
                  <a:srgbClr val="000000"/>
                </a:solidFill>
                <a:latin typeface="Helvetica"/>
                <a:cs typeface="Helvetica"/>
              </a:rPr>
              <a:t>avklares</a:t>
            </a:r>
            <a:r>
              <a:rPr lang="en-GB" dirty="0">
                <a:solidFill>
                  <a:srgbClr val="000000"/>
                </a:solidFill>
                <a:latin typeface="Helvetica"/>
                <a:cs typeface="Helvetica"/>
              </a:rPr>
              <a:t> med det </a:t>
            </a:r>
            <a:r>
              <a:rPr lang="en-GB" dirty="0" err="1">
                <a:solidFill>
                  <a:srgbClr val="000000"/>
                </a:solidFill>
                <a:latin typeface="Helvetica"/>
                <a:cs typeface="Helvetica"/>
              </a:rPr>
              <a:t>første</a:t>
            </a:r>
            <a:r>
              <a:rPr lang="en-GB" dirty="0">
                <a:solidFill>
                  <a:srgbClr val="000000"/>
                </a:solidFill>
                <a:latin typeface="Helvetica"/>
                <a:cs typeface="Helvetica"/>
              </a:rPr>
              <a:t>: </a:t>
            </a:r>
            <a:r>
              <a:rPr lang="en-GB" dirty="0" err="1">
                <a:solidFill>
                  <a:srgbClr val="000000"/>
                </a:solidFill>
                <a:latin typeface="Helvetica"/>
                <a:cs typeface="Helvetica"/>
              </a:rPr>
              <a:t>Hva</a:t>
            </a:r>
            <a:r>
              <a:rPr lang="en-GB" dirty="0">
                <a:solidFill>
                  <a:srgbClr val="000000"/>
                </a:solidFill>
                <a:latin typeface="Helvetica"/>
                <a:cs typeface="Helvetica"/>
              </a:rPr>
              <a:t> </a:t>
            </a:r>
            <a:r>
              <a:rPr lang="en-GB" dirty="0" err="1">
                <a:solidFill>
                  <a:srgbClr val="000000"/>
                </a:solidFill>
                <a:latin typeface="Helvetica"/>
                <a:cs typeface="Helvetica"/>
              </a:rPr>
              <a:t>skjer</a:t>
            </a:r>
            <a:r>
              <a:rPr lang="en-GB" dirty="0">
                <a:solidFill>
                  <a:srgbClr val="000000"/>
                </a:solidFill>
                <a:latin typeface="Helvetica"/>
                <a:cs typeface="Helvetica"/>
              </a:rPr>
              <a:t> med </a:t>
            </a:r>
            <a:r>
              <a:rPr lang="en-GB" dirty="0" err="1">
                <a:solidFill>
                  <a:srgbClr val="000000"/>
                </a:solidFill>
                <a:latin typeface="Helvetica"/>
                <a:cs typeface="Helvetica"/>
              </a:rPr>
              <a:t>dem</a:t>
            </a:r>
            <a:r>
              <a:rPr lang="en-GB" dirty="0">
                <a:solidFill>
                  <a:srgbClr val="000000"/>
                </a:solidFill>
                <a:latin typeface="Helvetica"/>
                <a:cs typeface="Helvetica"/>
              </a:rPr>
              <a:t> </a:t>
            </a:r>
            <a:r>
              <a:rPr lang="en-GB" dirty="0" err="1">
                <a:solidFill>
                  <a:srgbClr val="000000"/>
                </a:solidFill>
                <a:latin typeface="Helvetica"/>
                <a:cs typeface="Helvetica"/>
              </a:rPr>
              <a:t>som</a:t>
            </a:r>
            <a:r>
              <a:rPr lang="en-GB" dirty="0">
                <a:solidFill>
                  <a:srgbClr val="000000"/>
                </a:solidFill>
                <a:latin typeface="Helvetica"/>
                <a:cs typeface="Helvetica"/>
              </a:rPr>
              <a:t> </a:t>
            </a:r>
            <a:r>
              <a:rPr lang="en-GB" dirty="0" err="1">
                <a:solidFill>
                  <a:srgbClr val="000000"/>
                </a:solidFill>
                <a:latin typeface="Helvetica"/>
                <a:cs typeface="Helvetica"/>
              </a:rPr>
              <a:t>skal</a:t>
            </a:r>
            <a:r>
              <a:rPr lang="en-GB" dirty="0">
                <a:solidFill>
                  <a:srgbClr val="000000"/>
                </a:solidFill>
                <a:latin typeface="Helvetica"/>
                <a:cs typeface="Helvetica"/>
              </a:rPr>
              <a:t> </a:t>
            </a:r>
            <a:r>
              <a:rPr lang="en-GB" dirty="0" err="1">
                <a:solidFill>
                  <a:srgbClr val="000000"/>
                </a:solidFill>
                <a:latin typeface="Helvetica"/>
                <a:cs typeface="Helvetica"/>
              </a:rPr>
              <a:t>fortsette</a:t>
            </a:r>
            <a:r>
              <a:rPr lang="en-GB" dirty="0">
                <a:solidFill>
                  <a:srgbClr val="000000"/>
                </a:solidFill>
                <a:latin typeface="Helvetica"/>
                <a:cs typeface="Helvetica"/>
              </a:rPr>
              <a:t> studier </a:t>
            </a:r>
            <a:r>
              <a:rPr lang="en-GB" dirty="0" err="1">
                <a:solidFill>
                  <a:srgbClr val="000000"/>
                </a:solidFill>
                <a:latin typeface="Helvetica"/>
                <a:cs typeface="Helvetica"/>
              </a:rPr>
              <a:t>til</a:t>
            </a:r>
            <a:r>
              <a:rPr lang="en-GB" dirty="0">
                <a:solidFill>
                  <a:srgbClr val="000000"/>
                </a:solidFill>
                <a:latin typeface="Helvetica"/>
                <a:cs typeface="Helvetica"/>
              </a:rPr>
              <a:t> </a:t>
            </a:r>
            <a:r>
              <a:rPr lang="en-GB" dirty="0" err="1">
                <a:solidFill>
                  <a:srgbClr val="000000"/>
                </a:solidFill>
                <a:latin typeface="Helvetica"/>
                <a:cs typeface="Helvetica"/>
              </a:rPr>
              <a:t>høsten</a:t>
            </a:r>
            <a:r>
              <a:rPr lang="en-GB" dirty="0">
                <a:solidFill>
                  <a:srgbClr val="000000"/>
                </a:solidFill>
                <a:latin typeface="Helvetica"/>
                <a:cs typeface="Helvetica"/>
              </a:rPr>
              <a:t> </a:t>
            </a:r>
            <a:r>
              <a:rPr lang="en-GB" dirty="0" err="1">
                <a:solidFill>
                  <a:srgbClr val="000000"/>
                </a:solidFill>
                <a:latin typeface="Helvetica"/>
                <a:cs typeface="Helvetica"/>
              </a:rPr>
              <a:t>og</a:t>
            </a:r>
            <a:r>
              <a:rPr lang="en-GB" dirty="0">
                <a:solidFill>
                  <a:srgbClr val="000000"/>
                </a:solidFill>
                <a:latin typeface="Helvetica"/>
                <a:cs typeface="Helvetica"/>
              </a:rPr>
              <a:t> </a:t>
            </a:r>
            <a:r>
              <a:rPr lang="en-GB" dirty="0" err="1">
                <a:solidFill>
                  <a:srgbClr val="000000"/>
                </a:solidFill>
                <a:latin typeface="Helvetica"/>
                <a:cs typeface="Helvetica"/>
              </a:rPr>
              <a:t>ikke</a:t>
            </a:r>
            <a:r>
              <a:rPr lang="en-GB" dirty="0">
                <a:solidFill>
                  <a:srgbClr val="000000"/>
                </a:solidFill>
                <a:latin typeface="Helvetica"/>
                <a:cs typeface="Helvetica"/>
              </a:rPr>
              <a:t> </a:t>
            </a:r>
            <a:r>
              <a:rPr lang="en-GB" dirty="0" err="1">
                <a:solidFill>
                  <a:srgbClr val="000000"/>
                </a:solidFill>
                <a:latin typeface="Helvetica"/>
                <a:cs typeface="Helvetica"/>
              </a:rPr>
              <a:t>kan</a:t>
            </a:r>
            <a:r>
              <a:rPr lang="en-GB" dirty="0">
                <a:solidFill>
                  <a:srgbClr val="000000"/>
                </a:solidFill>
                <a:latin typeface="Helvetica"/>
                <a:cs typeface="Helvetica"/>
              </a:rPr>
              <a:t> </a:t>
            </a:r>
            <a:r>
              <a:rPr lang="en-GB" dirty="0" err="1">
                <a:solidFill>
                  <a:srgbClr val="000000"/>
                </a:solidFill>
                <a:latin typeface="Helvetica"/>
                <a:cs typeface="Helvetica"/>
              </a:rPr>
              <a:t>finansiere</a:t>
            </a:r>
            <a:r>
              <a:rPr lang="en-GB" dirty="0">
                <a:solidFill>
                  <a:srgbClr val="000000"/>
                </a:solidFill>
                <a:latin typeface="Helvetica"/>
                <a:cs typeface="Helvetica"/>
              </a:rPr>
              <a:t> </a:t>
            </a:r>
            <a:br>
              <a:rPr lang="en-GB" dirty="0">
                <a:solidFill>
                  <a:srgbClr val="000000"/>
                </a:solidFill>
                <a:latin typeface="Helvetica"/>
                <a:cs typeface="Helvetica"/>
              </a:rPr>
            </a:br>
            <a:r>
              <a:rPr lang="en-GB" dirty="0" err="1">
                <a:solidFill>
                  <a:srgbClr val="000000"/>
                </a:solidFill>
                <a:latin typeface="Helvetica"/>
                <a:cs typeface="Helvetica"/>
              </a:rPr>
              <a:t>oppholdet</a:t>
            </a:r>
            <a:r>
              <a:rPr lang="en-GB" dirty="0">
                <a:solidFill>
                  <a:srgbClr val="000000"/>
                </a:solidFill>
                <a:latin typeface="Helvetica"/>
                <a:cs typeface="Helvetica"/>
              </a:rPr>
              <a:t>?</a:t>
            </a:r>
            <a:br>
              <a:rPr lang="en-GB" dirty="0">
                <a:solidFill>
                  <a:srgbClr val="000000"/>
                </a:solidFill>
                <a:latin typeface="Helvetica"/>
                <a:cs typeface="Helvetica"/>
              </a:rPr>
            </a:br>
            <a:r>
              <a:rPr lang="en-GB" dirty="0" err="1">
                <a:solidFill>
                  <a:srgbClr val="000000"/>
                </a:solidFill>
                <a:latin typeface="Helvetica"/>
                <a:cs typeface="Helvetica"/>
              </a:rPr>
              <a:t>UiO</a:t>
            </a:r>
            <a:r>
              <a:rPr lang="en-GB" dirty="0">
                <a:solidFill>
                  <a:srgbClr val="000000"/>
                </a:solidFill>
                <a:latin typeface="Helvetica"/>
                <a:cs typeface="Helvetica"/>
              </a:rPr>
              <a:t> </a:t>
            </a:r>
            <a:r>
              <a:rPr lang="en-GB" dirty="0" err="1">
                <a:solidFill>
                  <a:srgbClr val="000000"/>
                </a:solidFill>
                <a:latin typeface="Helvetica"/>
                <a:cs typeface="Helvetica"/>
              </a:rPr>
              <a:t>har</a:t>
            </a:r>
            <a:r>
              <a:rPr lang="en-GB" dirty="0">
                <a:solidFill>
                  <a:srgbClr val="000000"/>
                </a:solidFill>
                <a:latin typeface="Helvetica"/>
                <a:cs typeface="Helvetica"/>
              </a:rPr>
              <a:t> </a:t>
            </a:r>
            <a:r>
              <a:rPr lang="en-GB" dirty="0" err="1">
                <a:solidFill>
                  <a:srgbClr val="000000"/>
                </a:solidFill>
                <a:latin typeface="Helvetica"/>
                <a:cs typeface="Helvetica"/>
              </a:rPr>
              <a:t>ingen</a:t>
            </a:r>
            <a:r>
              <a:rPr lang="en-GB" dirty="0">
                <a:solidFill>
                  <a:srgbClr val="000000"/>
                </a:solidFill>
                <a:latin typeface="Helvetica"/>
                <a:cs typeface="Helvetica"/>
              </a:rPr>
              <a:t> </a:t>
            </a:r>
            <a:r>
              <a:rPr lang="en-GB" dirty="0" err="1">
                <a:solidFill>
                  <a:srgbClr val="000000"/>
                </a:solidFill>
                <a:latin typeface="Helvetica"/>
                <a:cs typeface="Helvetica"/>
              </a:rPr>
              <a:t>utvekslingsstudenter</a:t>
            </a:r>
            <a:r>
              <a:rPr lang="en-GB" dirty="0">
                <a:solidFill>
                  <a:srgbClr val="000000"/>
                </a:solidFill>
                <a:latin typeface="Helvetica"/>
                <a:cs typeface="Helvetica"/>
              </a:rPr>
              <a:t> </a:t>
            </a:r>
            <a:r>
              <a:rPr lang="en-GB" dirty="0" err="1">
                <a:solidFill>
                  <a:srgbClr val="000000"/>
                </a:solidFill>
                <a:latin typeface="Helvetica"/>
                <a:cs typeface="Helvetica"/>
              </a:rPr>
              <a:t>fra</a:t>
            </a:r>
            <a:r>
              <a:rPr lang="en-GB" dirty="0">
                <a:solidFill>
                  <a:srgbClr val="000000"/>
                </a:solidFill>
                <a:latin typeface="Helvetica"/>
                <a:cs typeface="Helvetica"/>
              </a:rPr>
              <a:t> Ukraina, men </a:t>
            </a:r>
            <a:r>
              <a:rPr lang="en-GB" dirty="0" err="1">
                <a:solidFill>
                  <a:srgbClr val="000000"/>
                </a:solidFill>
                <a:latin typeface="Helvetica"/>
                <a:cs typeface="Helvetica"/>
              </a:rPr>
              <a:t>hva</a:t>
            </a:r>
            <a:r>
              <a:rPr lang="en-GB" dirty="0">
                <a:solidFill>
                  <a:srgbClr val="000000"/>
                </a:solidFill>
                <a:latin typeface="Helvetica"/>
                <a:cs typeface="Helvetica"/>
              </a:rPr>
              <a:t> </a:t>
            </a:r>
            <a:r>
              <a:rPr lang="en-GB" dirty="0" err="1">
                <a:solidFill>
                  <a:srgbClr val="000000"/>
                </a:solidFill>
                <a:latin typeface="Helvetica"/>
                <a:cs typeface="Helvetica"/>
              </a:rPr>
              <a:t>skjer</a:t>
            </a:r>
            <a:r>
              <a:rPr lang="en-GB" dirty="0">
                <a:solidFill>
                  <a:srgbClr val="000000"/>
                </a:solidFill>
                <a:latin typeface="Helvetica"/>
                <a:cs typeface="Helvetica"/>
              </a:rPr>
              <a:t> med </a:t>
            </a:r>
            <a:r>
              <a:rPr lang="en-GB" dirty="0" err="1">
                <a:solidFill>
                  <a:srgbClr val="000000"/>
                </a:solidFill>
                <a:latin typeface="Helvetica"/>
                <a:cs typeface="Helvetica"/>
              </a:rPr>
              <a:t>russiske</a:t>
            </a:r>
            <a:r>
              <a:rPr lang="en-GB" dirty="0">
                <a:solidFill>
                  <a:srgbClr val="000000"/>
                </a:solidFill>
                <a:latin typeface="Helvetica"/>
                <a:cs typeface="Helvetica"/>
              </a:rPr>
              <a:t> </a:t>
            </a:r>
            <a:r>
              <a:rPr lang="en-GB" dirty="0" err="1">
                <a:solidFill>
                  <a:srgbClr val="000000"/>
                </a:solidFill>
                <a:latin typeface="Helvetica"/>
                <a:cs typeface="Helvetica"/>
              </a:rPr>
              <a:t>studenter</a:t>
            </a:r>
            <a:r>
              <a:rPr lang="en-GB" dirty="0">
                <a:solidFill>
                  <a:srgbClr val="000000"/>
                </a:solidFill>
                <a:latin typeface="Helvetica"/>
                <a:cs typeface="Helvetica"/>
              </a:rPr>
              <a:t> </a:t>
            </a:r>
            <a:r>
              <a:rPr lang="en-GB" dirty="0" err="1">
                <a:solidFill>
                  <a:srgbClr val="000000"/>
                </a:solidFill>
                <a:latin typeface="Helvetica"/>
                <a:cs typeface="Helvetica"/>
              </a:rPr>
              <a:t>som</a:t>
            </a:r>
            <a:r>
              <a:rPr lang="en-GB" dirty="0">
                <a:solidFill>
                  <a:srgbClr val="000000"/>
                </a:solidFill>
                <a:latin typeface="Helvetica"/>
                <a:cs typeface="Helvetica"/>
              </a:rPr>
              <a:t> er </a:t>
            </a:r>
            <a:r>
              <a:rPr lang="en-GB" dirty="0" err="1">
                <a:solidFill>
                  <a:srgbClr val="000000"/>
                </a:solidFill>
                <a:latin typeface="Helvetica"/>
                <a:cs typeface="Helvetica"/>
              </a:rPr>
              <a:t>ferdig</a:t>
            </a:r>
            <a:r>
              <a:rPr lang="en-GB" dirty="0">
                <a:solidFill>
                  <a:srgbClr val="000000"/>
                </a:solidFill>
                <a:latin typeface="Helvetica"/>
                <a:cs typeface="Helvetica"/>
              </a:rPr>
              <a:t> med </a:t>
            </a:r>
            <a:r>
              <a:rPr lang="en-GB" dirty="0" err="1">
                <a:solidFill>
                  <a:srgbClr val="000000"/>
                </a:solidFill>
                <a:latin typeface="Helvetica"/>
                <a:cs typeface="Helvetica"/>
              </a:rPr>
              <a:t>utvekslingsopphold</a:t>
            </a:r>
            <a:r>
              <a:rPr lang="en-GB" dirty="0">
                <a:solidFill>
                  <a:srgbClr val="000000"/>
                </a:solidFill>
                <a:latin typeface="Helvetica"/>
                <a:cs typeface="Helvetica"/>
              </a:rPr>
              <a:t> </a:t>
            </a:r>
            <a:r>
              <a:rPr lang="en-GB" dirty="0" err="1">
                <a:solidFill>
                  <a:srgbClr val="000000"/>
                </a:solidFill>
                <a:latin typeface="Helvetica"/>
                <a:cs typeface="Helvetica"/>
              </a:rPr>
              <a:t>og</a:t>
            </a:r>
            <a:r>
              <a:rPr lang="en-GB" dirty="0">
                <a:solidFill>
                  <a:srgbClr val="000000"/>
                </a:solidFill>
                <a:latin typeface="Helvetica"/>
                <a:cs typeface="Helvetica"/>
              </a:rPr>
              <a:t> </a:t>
            </a:r>
            <a:r>
              <a:rPr lang="en-GB" dirty="0" err="1">
                <a:solidFill>
                  <a:srgbClr val="000000"/>
                </a:solidFill>
                <a:latin typeface="Helvetica"/>
                <a:cs typeface="Helvetica"/>
              </a:rPr>
              <a:t>vil</a:t>
            </a:r>
            <a:r>
              <a:rPr lang="en-GB" dirty="0">
                <a:solidFill>
                  <a:srgbClr val="000000"/>
                </a:solidFill>
                <a:latin typeface="Helvetica"/>
                <a:cs typeface="Helvetica"/>
              </a:rPr>
              <a:t> </a:t>
            </a:r>
            <a:r>
              <a:rPr lang="en-GB" dirty="0" err="1">
                <a:solidFill>
                  <a:srgbClr val="000000"/>
                </a:solidFill>
                <a:latin typeface="Helvetica"/>
                <a:cs typeface="Helvetica"/>
              </a:rPr>
              <a:t>bli</a:t>
            </a:r>
            <a:r>
              <a:rPr lang="en-GB" dirty="0">
                <a:solidFill>
                  <a:srgbClr val="000000"/>
                </a:solidFill>
                <a:latin typeface="Helvetica"/>
                <a:cs typeface="Helvetica"/>
              </a:rPr>
              <a:t> </a:t>
            </a:r>
            <a:r>
              <a:rPr lang="en-GB" dirty="0" err="1">
                <a:solidFill>
                  <a:srgbClr val="000000"/>
                </a:solidFill>
                <a:latin typeface="Helvetica"/>
                <a:cs typeface="Helvetica"/>
              </a:rPr>
              <a:t>i</a:t>
            </a:r>
            <a:r>
              <a:rPr lang="en-GB" dirty="0">
                <a:solidFill>
                  <a:srgbClr val="000000"/>
                </a:solidFill>
                <a:latin typeface="Helvetica"/>
                <a:cs typeface="Helvetica"/>
              </a:rPr>
              <a:t> Norge? </a:t>
            </a:r>
            <a:endParaRPr lang="en-GB">
              <a:latin typeface="Helvetica"/>
              <a:cs typeface="Helvetica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BAD84DA-3CD8-40AE-9A5B-EAC82D0CE0C2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C8047A6-E3A0-4EF6-B5C2-30AFC50F8D13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38926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A1D070-7CCD-4AB8-B50D-4004A3C5FF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Studietilbud til flyktninger fra Ukraina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07F765F-03DE-4B8F-BCF9-E25991A8209B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BA9229F-2354-4571-98D0-C47937C92F32}"/>
              </a:ext>
            </a:extLst>
          </p:cNvPr>
          <p:cNvSpPr>
            <a:spLocks noGrp="1"/>
          </p:cNvSpPr>
          <p:nvPr>
            <p:ph sz="half" idx="30"/>
          </p:nvPr>
        </p:nvSpPr>
        <p:spPr/>
        <p:txBody>
          <a:bodyPr/>
          <a:lstStyle/>
          <a:p>
            <a:r>
              <a:rPr lang="nb-NO" dirty="0"/>
              <a:t>KD har satt av 1000 studieplasser til sektoren. HK-</a:t>
            </a:r>
            <a:r>
              <a:rPr lang="nb-NO" dirty="0" err="1"/>
              <a:t>dir</a:t>
            </a:r>
            <a:r>
              <a:rPr lang="nb-NO" dirty="0"/>
              <a:t> skal foreslå fordeling basert den den geografiske bosettingen av flyktninger og institusjonenes kapasitet</a:t>
            </a:r>
          </a:p>
          <a:p>
            <a:r>
              <a:rPr lang="nb-NO" dirty="0"/>
              <a:t>UiO mener at en kompetansekartlegging av flyktninger før bosetting er avgjørende for at sektoren skal kunne bidra med et godt og relevant tilbud. </a:t>
            </a:r>
          </a:p>
          <a:p>
            <a:r>
              <a:rPr lang="nb-NO" dirty="0"/>
              <a:t>Studieplassene må fordeles så raskt som mulig, slik at institusjonene kan planlegge tilbudet og potensielle studenter får oversikt over mulighetene for studier i Norge. </a:t>
            </a:r>
          </a:p>
          <a:p>
            <a:r>
              <a:rPr lang="nb-NO" dirty="0"/>
              <a:t>UiO har meldt inn at vi kan ta inntil 200 av de «4-årige studieplassene i kategori D»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CEADB8-899B-4A2B-9874-317D149778EA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2CCAFE-D7EE-4DFD-A181-C1FE8FC188BC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920259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154D58-B8A3-4CD3-A0C5-56A6557DC1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UiOs tilbud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8CA1112-F7B1-49EE-8993-3D8814C545A9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E386992-AC82-43F1-B050-5185A4128845}"/>
              </a:ext>
            </a:extLst>
          </p:cNvPr>
          <p:cNvSpPr>
            <a:spLocks noGrp="1"/>
          </p:cNvSpPr>
          <p:nvPr>
            <p:ph sz="half" idx="30"/>
          </p:nvPr>
        </p:nvSpPr>
        <p:spPr/>
        <p:txBody>
          <a:bodyPr/>
          <a:lstStyle/>
          <a:p>
            <a:pPr marL="0" indent="0">
              <a:buNone/>
            </a:pPr>
            <a:r>
              <a:rPr lang="nb-NO" dirty="0"/>
              <a:t>UiO vil bidra til at flyktninger som ønsker det, kan få tilbud om å studere. Vi har noe kapasitet innenfor egen ramme men en del av tilbudet vil være avhengig av finansiering. Kartlegging hos fakultetene viser at vi har mulighet til å tilby </a:t>
            </a:r>
          </a:p>
          <a:p>
            <a:r>
              <a:rPr lang="nb-NO" sz="2000" dirty="0"/>
              <a:t>Opplæring i norsk fra sommeren 2022. Både ved Den internasjonale sommerskolen og via MOOC + gruppeundervisning på HF. Oppskalering av ordinært tilbud til høsten.</a:t>
            </a:r>
          </a:p>
          <a:p>
            <a:r>
              <a:rPr lang="nb-NO" sz="2000" dirty="0"/>
              <a:t>Plasser på engelskspråklige emner til høsten</a:t>
            </a:r>
          </a:p>
          <a:p>
            <a:r>
              <a:rPr lang="nb-NO" sz="2000" dirty="0"/>
              <a:t>Plasser på engelskspråklige masterprogram, avhengig av flyktningenes interesser og kvalifikasjoner. </a:t>
            </a:r>
          </a:p>
          <a:p>
            <a:pPr marL="0" indent="0">
              <a:buNone/>
            </a:pPr>
            <a:r>
              <a:rPr lang="nb-NO" dirty="0"/>
              <a:t>UiOs tilbud vil i hovedsak være campusbasert. Det er viktig for flyktningenes tilhørighet og integrering i studiemiljøet og samfunnet for øvrig at de får mulighet til å studere fysisk på lærestedet. 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6AD800D-9A71-4C09-887B-806DAD6F6300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8A2C0BD-5C01-4AEE-82F8-5F1E1C0A7A54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207333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7">
            <a:extLst>
              <a:ext uri="{FF2B5EF4-FFF2-40B4-BE49-F238E27FC236}">
                <a16:creationId xmlns:a16="http://schemas.microsoft.com/office/drawing/2014/main" id="{7FB76055-8462-5C43-A037-0878BB1E7DD8}"/>
              </a:ext>
            </a:extLst>
          </p:cNvPr>
          <p:cNvPicPr>
            <a:picLocks noGrp="1" noChangeAspect="1"/>
          </p:cNvPicPr>
          <p:nvPr>
            <p:ph sz="half" idx="3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4846" y="360045"/>
            <a:ext cx="3559194" cy="5628799"/>
          </a:xfrm>
        </p:spPr>
      </p:pic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7B4C4D48-5B19-5044-89FA-B6CC2EC6E1D0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C37F2B5D-3CC6-614D-BADC-F6D0786E6CE4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5</a:t>
            </a:fld>
            <a:endParaRPr lang="en-US" dirty="0"/>
          </a:p>
        </p:txBody>
      </p:sp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28ADBFC7-CEE4-0A42-9D21-6DB72B31D7E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92683156"/>
              </p:ext>
            </p:extLst>
          </p:nvPr>
        </p:nvGraphicFramePr>
        <p:xfrm>
          <a:off x="1837732" y="3270881"/>
          <a:ext cx="4370981" cy="263461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0C5EE614-67E3-6244-89FE-C9849D849C0B}"/>
              </a:ext>
            </a:extLst>
          </p:cNvPr>
          <p:cNvSpPr txBox="1">
            <a:spLocks/>
          </p:cNvSpPr>
          <p:nvPr/>
        </p:nvSpPr>
        <p:spPr>
          <a:xfrm>
            <a:off x="360044" y="1476591"/>
            <a:ext cx="6620072" cy="1220402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vert="horz" lIns="0" tIns="0" rIns="0" bIns="0" rtlCol="0">
            <a:noAutofit/>
          </a:bodyPr>
          <a:lstStyle>
            <a:lvl1pPr marL="288000" indent="-288000" algn="l" defTabSz="914446" rtl="0" eaLnBrk="1" latinLnBrk="0" hangingPunct="1">
              <a:lnSpc>
                <a:spcPct val="100000"/>
              </a:lnSpc>
              <a:spcBef>
                <a:spcPts val="1150"/>
              </a:spcBef>
              <a:buFont typeface="Wingdings" panose="05000000000000000000" pitchFamily="2" charset="2"/>
              <a:buChar char="§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34" indent="-228611" algn="l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57" indent="-228611" algn="l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80" indent="-228611" algn="l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503" indent="-228611" algn="l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726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948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171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394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/>
              <a:t>Hvor mange studieklare flyktninger kan vi </a:t>
            </a:r>
            <a:br>
              <a:rPr lang="nb-NO" dirty="0"/>
            </a:br>
            <a:r>
              <a:rPr lang="nb-NO" dirty="0"/>
              <a:t>forvente i Oslo – og når? Vi vet ikke. </a:t>
            </a:r>
            <a:br>
              <a:rPr lang="nb-NO" dirty="0"/>
            </a:br>
            <a:endParaRPr lang="nb-NO" dirty="0"/>
          </a:p>
          <a:p>
            <a:pPr marL="0" indent="0">
              <a:buNone/>
            </a:pPr>
            <a:endParaRPr lang="en-GB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A80892AF-11A7-644B-9C90-A20F4FA557C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4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5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/>
              <a:t>Hva skjer nå?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7929050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BE1AC52-0FBF-4F1D-9799-73C25D5084A1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535949" y="930763"/>
            <a:ext cx="11471910" cy="5098976"/>
          </a:xfrm>
        </p:spPr>
        <p:txBody>
          <a:bodyPr/>
          <a:lstStyle/>
          <a:p>
            <a:r>
              <a:rPr lang="nb-NO" dirty="0"/>
              <a:t>Studieavdelingen ser på mulige praktiske, tekniske og </a:t>
            </a:r>
            <a:r>
              <a:rPr lang="nb-NO" dirty="0" err="1"/>
              <a:t>regelverksmessige</a:t>
            </a:r>
            <a:r>
              <a:rPr lang="nb-NO" dirty="0"/>
              <a:t> løsninger for de ulike tilbudene, i dialog med aktuelle enheter</a:t>
            </a:r>
          </a:p>
          <a:p>
            <a:r>
              <a:rPr lang="nb-NO" dirty="0"/>
              <a:t>Vi forventer (snarlig?) informasjon om midlertidige regelverksendringer og tildeling av studieplassmidler fra KD</a:t>
            </a:r>
          </a:p>
          <a:p>
            <a:r>
              <a:rPr lang="nb-NO" dirty="0"/>
              <a:t>Vi er i dialog med andre læresteder og myndighetene</a:t>
            </a:r>
          </a:p>
          <a:p>
            <a:r>
              <a:rPr lang="nb-NO" dirty="0"/>
              <a:t>Vi fortolker og iverksetter nye tiltak: </a:t>
            </a:r>
            <a:br>
              <a:rPr lang="nb-NO" dirty="0"/>
            </a:br>
            <a:r>
              <a:rPr lang="nb-NO" dirty="0"/>
              <a:t>Vi har nettopp fått informasjon om muligheten for å omdisponere stipendmidler i Erasmus+ til innreisende studenter fra Ukraina. Hva har vi til rådighet og hvordan kan vi implementere? Vil gå i dialog med enhetene om det.</a:t>
            </a:r>
          </a:p>
          <a:p>
            <a:endParaRPr lang="nb-NO" dirty="0"/>
          </a:p>
          <a:p>
            <a:pPr marL="0" indent="0">
              <a:buNone/>
            </a:pPr>
            <a:r>
              <a:rPr lang="nb-NO" dirty="0"/>
              <a:t>Lokale initiativ og forslag? </a:t>
            </a:r>
            <a:r>
              <a:rPr lang="nb-NO" b="1" dirty="0"/>
              <a:t>Ta kontakt!</a:t>
            </a:r>
          </a:p>
          <a:p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2BAF03-F320-4891-8DC6-7929D8490544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F73E87D-E23B-4A71-BD81-EAD94C6BEBE6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8" name="Tittel 7">
            <a:extLst>
              <a:ext uri="{FF2B5EF4-FFF2-40B4-BE49-F238E27FC236}">
                <a16:creationId xmlns:a16="http://schemas.microsoft.com/office/drawing/2014/main" id="{D1D56054-A769-CF41-87D9-12B72096E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Vi forbereder oss</a:t>
            </a:r>
          </a:p>
        </p:txBody>
      </p:sp>
    </p:spTree>
    <p:extLst>
      <p:ext uri="{BB962C8B-B14F-4D97-AF65-F5344CB8AC3E}">
        <p14:creationId xmlns:p14="http://schemas.microsoft.com/office/powerpoint/2010/main" val="17549412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B6666"/>
      </a:accent1>
      <a:accent2>
        <a:srgbClr val="FFFEA7"/>
      </a:accent2>
      <a:accent3>
        <a:srgbClr val="86A4F7"/>
      </a:accent3>
      <a:accent4>
        <a:srgbClr val="E6ECFF"/>
      </a:accent4>
      <a:accent5>
        <a:srgbClr val="FEA11B"/>
      </a:accent5>
      <a:accent6>
        <a:srgbClr val="3E31D6"/>
      </a:accent6>
      <a:hlink>
        <a:srgbClr val="0563C1"/>
      </a:hlink>
      <a:folHlink>
        <a:srgbClr val="954F72"/>
      </a:folHlink>
    </a:clrScheme>
    <a:fontScheme name="Custom 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iO_PPT_NO.potx" id="{4A3461D5-36ED-4665-B3FE-2BAD1DA8EADD}" vid="{585C287C-E974-4785-BD2C-7F401461D4E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3A0108F0405CBB4CAF0A4935735FBDAF" ma:contentTypeVersion="2" ma:contentTypeDescription="Opprett et nytt dokument." ma:contentTypeScope="" ma:versionID="40820e0ad83be9a9961789050f7f0561">
  <xsd:schema xmlns:xsd="http://www.w3.org/2001/XMLSchema" xmlns:xs="http://www.w3.org/2001/XMLSchema" xmlns:p="http://schemas.microsoft.com/office/2006/metadata/properties" xmlns:ns2="e5e35b8c-bb2a-40e7-acd7-beed1d1f14b8" xmlns:ns3="45a9c032-1c21-4297-bc4a-1b0e359a6c15" targetNamespace="http://schemas.microsoft.com/office/2006/metadata/properties" ma:root="true" ma:fieldsID="0d622c3afd3d445bea522ad461dd9299" ns2:_="" ns3:_="">
    <xsd:import namespace="e5e35b8c-bb2a-40e7-acd7-beed1d1f14b8"/>
    <xsd:import namespace="45a9c032-1c21-4297-bc4a-1b0e359a6c15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5e35b8c-bb2a-40e7-acd7-beed1d1f14b8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kument-ID-verdi" ma:description="Verdien for dokument-IDen som er tilordnet elementet." ma:internalName="_dlc_DocId" ma:readOnly="true">
      <xsd:simpleType>
        <xsd:restriction base="dms:Text"/>
      </xsd:simpleType>
    </xsd:element>
    <xsd:element name="_dlc_DocIdUrl" ma:index="9" nillable="true" ma:displayName="Dokument-ID" ma:description="Fast kobling til dokumente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5a9c032-1c21-4297-bc4a-1b0e359a6c1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e5e35b8c-bb2a-40e7-acd7-beed1d1f14b8">JAJEJYK5CVUX-448798232-25</_dlc_DocId>
    <_dlc_DocIdUrl xmlns="e5e35b8c-bb2a-40e7-acd7-beed1d1f14b8">
      <Url>https://uio.sharepoint.com/sites/GrafiskUttrykk/_layouts/15/DocIdRedir.aspx?ID=JAJEJYK5CVUX-448798232-25</Url>
      <Description>JAJEJYK5CVUX-448798232-25</Description>
    </_dlc_DocIdUrl>
  </documentManagement>
</p:properties>
</file>

<file path=customXml/itemProps1.xml><?xml version="1.0" encoding="utf-8"?>
<ds:datastoreItem xmlns:ds="http://schemas.openxmlformats.org/officeDocument/2006/customXml" ds:itemID="{CD1D2A2B-90F2-4F7A-A7C8-3D551B2C6161}">
  <ds:schemaRefs>
    <ds:schemaRef ds:uri="http://schemas.microsoft.com/office/2006/metadata/contentType"/>
    <ds:schemaRef ds:uri="http://schemas.microsoft.com/office/2006/metadata/properties/metaAttributes"/>
    <ds:schemaRef ds:uri="http://www.w3.org/2000/xmlns/"/>
    <ds:schemaRef ds:uri="http://www.w3.org/2001/XMLSchema"/>
    <ds:schemaRef ds:uri="e5e35b8c-bb2a-40e7-acd7-beed1d1f14b8"/>
    <ds:schemaRef ds:uri="45a9c032-1c21-4297-bc4a-1b0e359a6c15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684213E5-2D10-47A0-9EC6-16DB2B77A2C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E911B26-910F-441A-86DA-EE10B465B6D6}">
  <ds:schemaRefs>
    <ds:schemaRef ds:uri="http://schemas.microsoft.com/sharepoint/events"/>
    <ds:schemaRef ds:uri="http://www.w3.org/2000/xmlns/"/>
  </ds:schemaRefs>
</ds:datastoreItem>
</file>

<file path=customXml/itemProps4.xml><?xml version="1.0" encoding="utf-8"?>
<ds:datastoreItem xmlns:ds="http://schemas.openxmlformats.org/officeDocument/2006/customXml" ds:itemID="{89B9CF10-6C6A-444C-B05E-E78C1785A52C}">
  <ds:schemaRefs>
    <ds:schemaRef ds:uri="http://schemas.openxmlformats.org/package/2006/metadata/core-properties"/>
    <ds:schemaRef ds:uri="http://purl.org/dc/dcmitype/"/>
    <ds:schemaRef ds:uri="http://www.w3.org/XML/1998/namespace"/>
    <ds:schemaRef ds:uri="45a9c032-1c21-4297-bc4a-1b0e359a6c15"/>
    <ds:schemaRef ds:uri="http://purl.org/dc/terms/"/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e5e35b8c-bb2a-40e7-acd7-beed1d1f14b8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UiO Norsk</Template>
  <TotalTime>97</TotalTime>
  <Words>508</Words>
  <Application>Microsoft Office PowerPoint</Application>
  <PresentationFormat>Widescreen</PresentationFormat>
  <Paragraphs>38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3" baseType="lpstr">
      <vt:lpstr>Arial</vt:lpstr>
      <vt:lpstr>Arial, sans-serif</vt:lpstr>
      <vt:lpstr>Calibri</vt:lpstr>
      <vt:lpstr>Helvetica</vt:lpstr>
      <vt:lpstr>Wingdings</vt:lpstr>
      <vt:lpstr>Office Theme</vt:lpstr>
      <vt:lpstr>think-cell Slide</vt:lpstr>
      <vt:lpstr>Krig i Ukraina - dette gjør UiO</vt:lpstr>
      <vt:lpstr>Nåværende studenter – våren 2022</vt:lpstr>
      <vt:lpstr>Studietilbud til flyktninger fra Ukraina</vt:lpstr>
      <vt:lpstr>UiOs tilbud</vt:lpstr>
      <vt:lpstr>Hva skjer nå?</vt:lpstr>
      <vt:lpstr>Vi forbereder os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rig i Ukraina - dette gjør UiO</dc:title>
  <dc:creator>Kristin Fossum Stene</dc:creator>
  <cp:lastModifiedBy>Kristin Fossum Stene</cp:lastModifiedBy>
  <cp:revision>21</cp:revision>
  <dcterms:created xsi:type="dcterms:W3CDTF">2022-04-25T12:52:40Z</dcterms:created>
  <dcterms:modified xsi:type="dcterms:W3CDTF">2022-04-26T07:04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A0108F0405CBB4CAF0A4935735FBDAF</vt:lpwstr>
  </property>
  <property fmtid="{D5CDD505-2E9C-101B-9397-08002B2CF9AE}" pid="3" name="MediaServiceImageTags">
    <vt:lpwstr/>
  </property>
  <property fmtid="{D5CDD505-2E9C-101B-9397-08002B2CF9AE}" pid="4" name="_dlc_DocIdItemGuid">
    <vt:lpwstr>e1ba8df5-1c55-4d83-8486-5b6b738896d5</vt:lpwstr>
  </property>
</Properties>
</file>